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5"/>
  </p:notesMasterIdLst>
  <p:handoutMasterIdLst>
    <p:handoutMasterId r:id="rId13"/>
  </p:handoutMasterIdLst>
  <p:sldIdLst>
    <p:sldId id="349" r:id="rId3"/>
    <p:sldId id="337" r:id="rId4"/>
    <p:sldId id="338" r:id="rId6"/>
    <p:sldId id="339" r:id="rId7"/>
    <p:sldId id="340" r:id="rId8"/>
    <p:sldId id="341" r:id="rId9"/>
    <p:sldId id="342" r:id="rId10"/>
    <p:sldId id="343" r:id="rId11"/>
    <p:sldId id="346" r:id="rId12"/>
  </p:sldIdLst>
  <p:sldSz cx="12192000" cy="6858000"/>
  <p:notesSz cx="7104380" cy="10234930"/>
  <p:defaultTextStyle>
    <a:defPPr>
      <a:defRPr lang="zh-CN"/>
    </a:defPPr>
    <a:lvl1pPr marL="0" lvl="0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kern="1200">
        <a:solidFill>
          <a:schemeClr val="tx1"/>
        </a:solidFill>
        <a:latin typeface="Arial" panose="02080604020202020204" pitchFamily="34" charset="0"/>
        <a:ea typeface="黑体" panose="02010609060101010101" charset="-122"/>
        <a:cs typeface="+mn-cs"/>
      </a:defRPr>
    </a:lvl1pPr>
    <a:lvl2pPr marL="457200" lvl="1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kern="1200">
        <a:solidFill>
          <a:schemeClr val="tx1"/>
        </a:solidFill>
        <a:latin typeface="Arial" panose="02080604020202020204" pitchFamily="34" charset="0"/>
        <a:ea typeface="黑体" panose="02010609060101010101" charset="-122"/>
        <a:cs typeface="+mn-cs"/>
      </a:defRPr>
    </a:lvl2pPr>
    <a:lvl3pPr marL="914400" lvl="2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kern="1200">
        <a:solidFill>
          <a:schemeClr val="tx1"/>
        </a:solidFill>
        <a:latin typeface="Arial" panose="02080604020202020204" pitchFamily="34" charset="0"/>
        <a:ea typeface="黑体" panose="02010609060101010101" charset="-122"/>
        <a:cs typeface="+mn-cs"/>
      </a:defRPr>
    </a:lvl3pPr>
    <a:lvl4pPr marL="1371600" lvl="3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kern="1200">
        <a:solidFill>
          <a:schemeClr val="tx1"/>
        </a:solidFill>
        <a:latin typeface="Arial" panose="02080604020202020204" pitchFamily="34" charset="0"/>
        <a:ea typeface="黑体" panose="02010609060101010101" charset="-122"/>
        <a:cs typeface="+mn-cs"/>
      </a:defRPr>
    </a:lvl4pPr>
    <a:lvl5pPr marL="1828800" lvl="4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kern="1200">
        <a:solidFill>
          <a:schemeClr val="tx1"/>
        </a:solidFill>
        <a:latin typeface="Arial" panose="02080604020202020204" pitchFamily="34" charset="0"/>
        <a:ea typeface="黑体" panose="02010609060101010101" charset="-122"/>
        <a:cs typeface="+mn-cs"/>
      </a:defRPr>
    </a:lvl5pPr>
    <a:lvl6pPr marL="2286000" lvl="5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kern="1200">
        <a:solidFill>
          <a:schemeClr val="tx1"/>
        </a:solidFill>
        <a:latin typeface="Arial" panose="02080604020202020204" pitchFamily="34" charset="0"/>
        <a:ea typeface="黑体" panose="02010609060101010101" charset="-122"/>
        <a:cs typeface="+mn-cs"/>
      </a:defRPr>
    </a:lvl6pPr>
    <a:lvl7pPr marL="2743200" lvl="6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kern="1200">
        <a:solidFill>
          <a:schemeClr val="tx1"/>
        </a:solidFill>
        <a:latin typeface="Arial" panose="02080604020202020204" pitchFamily="34" charset="0"/>
        <a:ea typeface="黑体" panose="02010609060101010101" charset="-122"/>
        <a:cs typeface="+mn-cs"/>
      </a:defRPr>
    </a:lvl7pPr>
    <a:lvl8pPr marL="3200400" lvl="7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kern="1200">
        <a:solidFill>
          <a:schemeClr val="tx1"/>
        </a:solidFill>
        <a:latin typeface="Arial" panose="02080604020202020204" pitchFamily="34" charset="0"/>
        <a:ea typeface="黑体" panose="02010609060101010101" charset="-122"/>
        <a:cs typeface="+mn-cs"/>
      </a:defRPr>
    </a:lvl8pPr>
    <a:lvl9pPr marL="3657600" lvl="8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kern="1200">
        <a:solidFill>
          <a:schemeClr val="tx1"/>
        </a:solidFill>
        <a:latin typeface="Arial" panose="02080604020202020204" pitchFamily="34" charset="0"/>
        <a:ea typeface="黑体" panose="02010609060101010101" charset="-122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马晓芳(产险线上客户中心张江电话中心综合管理部)" initials="马晓芳(产险线上客户中心张江电话中心综合管理部)" lastIdx="1" clrIdx="0"/>
  <p:cmAuthor id="20" name="作者" initials="A" lastIdx="2" clrIdx="19"/>
  <p:cmAuthor id="2" name="BAOYUAN143" initials="鲍" lastIdx="1" clrIdx="1"/>
  <p:cmAuthor id="3" name="GANLIQIONG325" initials="G" lastIdx="4" clrIdx="2"/>
  <p:cmAuthor id="0" name="PINGAN" initials="P" lastIdx="1" clrIdx="0"/>
  <p:cmAuthor id="797" name="未知用户353" initials="未" lastIdx="7" clrIdx="0"/>
  <p:cmAuthor id="798" name="未知用户354" initials="未" lastIdx="3" clrIdx="0"/>
  <p:cmAuthor id="799" name="未知用户355" initials="未" lastIdx="1" clrIdx="0"/>
  <p:cmAuthor id="800" name="未知用户356" initials="未" lastIdx="0" clrIdx="0"/>
  <p:cmAuthor id="4" name="cc_xi" initials="c" lastIdx="1" clrIdx="3"/>
  <p:cmAuthor id="801" name="未知用户378" initials="未" lastIdx="1" clrIdx="0"/>
  <p:cmAuthor id="802" name="未知用户357" initials="未" lastIdx="9" clrIdx="0"/>
  <p:cmAuthor id="6" name="admin" initials="a" lastIdx="1" clrIdx="3"/>
  <p:cmAuthor id="803" name="未知用户362" initials="未" lastIdx="1" clrIdx="0"/>
  <p:cmAuthor id="7" name="刘凡(金服银行科技中心零售数据和机器人团队应用架构组)" initials="MSOffice" lastIdx="1" clrIdx="6"/>
  <p:cmAuthor id="804" name="未知用户363" initials="未" lastIdx="0" clrIdx="0"/>
  <p:cmAuthor id="8" name="YANSHENGLI395" initials="Y" lastIdx="1" clrIdx="7"/>
  <p:cmAuthor id="805" name="未知用户374" initials="未" lastIdx="1" clrIdx="0"/>
  <p:cmAuthor id="9" name="GAOYANG006" initials="G" lastIdx="1" clrIdx="8"/>
  <p:cmAuthor id="806" name="未知用户375" initials="未" lastIdx="1" clrIdx="0"/>
  <p:cmAuthor id="10" name="ZHANGWENXU666" initials="Z" lastIdx="1" clrIdx="9"/>
  <p:cmAuthor id="807" name="未知用户369" initials="未" lastIdx="2" clrIdx="0"/>
  <p:cmAuthor id="11" name="pab" initials="p" lastIdx="21" clrIdx="6"/>
  <p:cmAuthor id="808" name="未知用户376" initials="未" lastIdx="22" clrIdx="0"/>
  <p:cmAuthor id="12" name="zdt" initials="z" lastIdx="1" clrIdx="11"/>
  <p:cmAuthor id="809" name="未知用户377" initials="未" lastIdx="1" clrIdx="0"/>
  <p:cmAuthor id="13" name="101880" initials="1" lastIdx="15" clrIdx="13"/>
  <p:cmAuthor id="810" name="未知用户372" initials="未" lastIdx="1" clrIdx="1"/>
  <p:cmAuthor id="14" name="金鼎" initials="金鼎" lastIdx="10" clrIdx="14"/>
  <p:cmAuthor id="811" name="Xzjd" initials="X" lastIdx="2" clrIdx="0"/>
  <p:cmAuthor id="15" name="HZB" initials="H" lastIdx="8" clrIdx="15"/>
  <p:cmAuthor id="812" name="a1270005862@outlook.com" initials="a" lastIdx="1" clrIdx="177"/>
  <p:cmAuthor id="16" name="jdzb" initials="j" lastIdx="2" clrIdx="16"/>
  <p:cmAuthor id="813" name="泰康自贡本部" initials="泰" lastIdx="1" clrIdx="812"/>
  <p:cmAuthor id="17" name="张帆" initials="张" lastIdx="2083" clrIdx="17"/>
  <p:cmAuthor id="814" name="未知用户466" initials="未" lastIdx="3" clrIdx="0"/>
  <p:cmAuthor id="18" name="未知用户7" initials="未知用户7" lastIdx="1" clrIdx="0"/>
  <p:cmAuthor id="815" name="未知用户460" initials="未" lastIdx="1" clrIdx="0"/>
  <p:cmAuthor id="19" name="未知用户8" initials="未知用户8" lastIdx="1" clrIdx="14"/>
  <p:cmAuthor id="816" name="未知用户454" initials="未" lastIdx="2" clrIdx="0"/>
  <p:cmAuthor id="817" name="未知用户461" initials="未" lastIdx="0" clrIdx="0"/>
  <p:cmAuthor id="21" name="hanwei" initials="h" lastIdx="1" clrIdx="15"/>
  <p:cmAuthor id="818" name="未知用户455" initials="未" lastIdx="1" clrIdx="0"/>
  <p:cmAuthor id="22" name="xiaosenren" initials="x" lastIdx="2" clrIdx="24"/>
  <p:cmAuthor id="819" name="未知用户462" initials="未" lastIdx="10" clrIdx="0"/>
  <p:cmAuthor id="23" name="za-jijingting" initials="z" lastIdx="1" clrIdx="30"/>
  <p:cmAuthor id="820" name="未知用户465" initials="未" lastIdx="1" clrIdx="5"/>
  <p:cmAuthor id="24" name="Sicheng Wang" initials="SW" lastIdx="21" clrIdx="31"/>
  <p:cmAuthor id="821" name="未知用户457" initials="未" lastIdx="1" clrIdx="0"/>
  <p:cmAuthor id="25" name="Wurui (Ray)" initials="W(" lastIdx="1" clrIdx="25"/>
  <p:cmAuthor id="822" name="未知用户450" initials="未" lastIdx="0" clrIdx="0"/>
  <p:cmAuthor id="26" name="家华 胡" initials="家华" lastIdx="1" clrIdx="33"/>
  <p:cmAuthor id="823" name="未知用户463" initials="未" lastIdx="1" clrIdx="18"/>
  <p:cmAuthor id="27" name="PPTer_Tang" initials="P" lastIdx="1" clrIdx="0"/>
  <p:cmAuthor id="824" name="未知用户467" initials="未" lastIdx="0" clrIdx="0"/>
  <p:cmAuthor id="28" name="yangdong954" initials="y" lastIdx="1" clrIdx="27"/>
  <p:cmAuthor id="825" name="未知用户468" initials="未" lastIdx="1" clrIdx="0"/>
  <p:cmAuthor id="29" name="未知的使用者20" initials="未" lastIdx="1" clrIdx="0"/>
  <p:cmAuthor id="826" name="未知用户469" initials="未" lastIdx="1" clrIdx="0"/>
  <p:cmAuthor id="30" name="User" initials="U" lastIdx="0" clrIdx="0"/>
  <p:cmAuthor id="827" name="未知用户458" initials="未" lastIdx="2" clrIdx="0"/>
  <p:cmAuthor id="31" name="陈 橙橙" initials="陈" lastIdx="1" clrIdx="21"/>
  <p:cmAuthor id="828" name="未知用户470" initials="未" lastIdx="1" clrIdx="0"/>
  <p:cmAuthor id="32" name="杨涛-lah" initials="杨" lastIdx="1" clrIdx="0"/>
  <p:cmAuthor id="829" name="未知用户471" initials="未" lastIdx="1" clrIdx="0"/>
  <p:cmAuthor id="33" name="jiansheng li" initials="j" lastIdx="0" clrIdx="0"/>
  <p:cmAuthor id="830" name="未知用户472" initials="未" lastIdx="1" clrIdx="0"/>
  <p:cmAuthor id="34" name="李增增" initials="李" lastIdx="1" clrIdx="2"/>
  <p:cmAuthor id="831" name="未知用户473" initials="未" lastIdx="4" clrIdx="0"/>
  <p:cmAuthor id="35" name="video" initials="v" lastIdx="1" clrIdx="0"/>
  <p:cmAuthor id="832" name="未知用户235" initials="未" lastIdx="0" clrIdx="1"/>
  <p:cmAuthor id="36" name="郭禹希" initials="郭" lastIdx="3" clrIdx="0"/>
  <p:cmAuthor id="833" name="未知用户453" initials="未" lastIdx="1" clrIdx="0"/>
  <p:cmAuthor id="37" name="YZB" initials="Y" lastIdx="1" clrIdx="15"/>
  <p:cmAuthor id="834" name="未知用户474" initials="未" lastIdx="0" clrIdx="0"/>
  <p:cmAuthor id="38" name="yiwei zhu" initials="y" lastIdx="14" clrIdx="0"/>
  <p:cmAuthor id="835" name="未知用户475" initials="未" lastIdx="0" clrIdx="0"/>
  <p:cmAuthor id="39" name="吕震" initials="吕" lastIdx="6" clrIdx="0"/>
  <p:cmAuthor id="836" name="未知用户476" initials="未" lastIdx="1" clrIdx="0"/>
  <p:cmAuthor id="40" name="吴岩" initials="吴" lastIdx="1" clrIdx="0"/>
  <p:cmAuthor id="837" name="未知用户459" initials="未" lastIdx="1" clrIdx="1"/>
  <p:cmAuthor id="41" name="benbenonroad zhao" initials="b" lastIdx="2" clrIdx="0"/>
  <p:cmAuthor id="838" name="未知用户489" initials="未" lastIdx="1" clrIdx="0"/>
  <p:cmAuthor id="42" name="SHMILY" initials="S" lastIdx="1" clrIdx="0"/>
  <p:cmAuthor id="839" name="未知用户488" initials="未" lastIdx="10" clrIdx="0"/>
  <p:cmAuthor id="43" name="宋昆" initials="宋" lastIdx="0" clrIdx="0"/>
  <p:cmAuthor id="840" name="未知用户490" initials="未" lastIdx="1" clrIdx="0"/>
  <p:cmAuthor id="44" name="xiong" initials="x" lastIdx="1" clrIdx="0"/>
  <p:cmAuthor id="841" name="未知用户477" initials="未" lastIdx="2" clrIdx="0"/>
  <p:cmAuthor id="45" name="ronald" initials="r" lastIdx="1" clrIdx="0"/>
  <p:cmAuthor id="842" name="未知用户478" initials="未" lastIdx="1" clrIdx="0"/>
  <p:cmAuthor id="46" name="Sandra" initials="S" lastIdx="0" clrIdx="0"/>
  <p:cmAuthor id="843" name="未知用户479" initials="未" lastIdx="0" clrIdx="8"/>
  <p:cmAuthor id="47" name="崔冶鸣（内蒙古英才管培生）" initials="崔" lastIdx="1" clrIdx="0"/>
  <p:cmAuthor id="844" name="未知用户480" initials="未" lastIdx="1" clrIdx="0"/>
  <p:cmAuthor id="48" name="卫天一" initials="卫" lastIdx="1" clrIdx="0"/>
  <p:cmAuthor id="845" name="未知用户481" initials="未" lastIdx="10" clrIdx="0"/>
  <p:cmAuthor id="49" name="万户网络" initials="万" lastIdx="1" clrIdx="0"/>
  <p:cmAuthor id="846" name="未知用户482" initials="未" lastIdx="1" clrIdx="0"/>
  <p:cmAuthor id="50" name="FrogPrince1121" initials="F" lastIdx="1" clrIdx="1"/>
  <p:cmAuthor id="847" name="未知用户483" initials="未" lastIdx="1" clrIdx="0"/>
  <p:cmAuthor id="51" name="冰箱" initials="冰" lastIdx="1" clrIdx="0"/>
  <p:cmAuthor id="848" name="未知用户484" initials="未" lastIdx="1" clrIdx="0"/>
  <p:cmAuthor id="52" name="未知的使用者27" initials="未" lastIdx="1" clrIdx="0"/>
  <p:cmAuthor id="849" name="未知用户485" initials="未" lastIdx="1" clrIdx="0"/>
  <p:cmAuthor id="53" name="季玉洁" initials="季" lastIdx="22" clrIdx="0"/>
  <p:cmAuthor id="850" name="未知用户486" initials="未" lastIdx="0" clrIdx="0"/>
  <p:cmAuthor id="54" name="Jinyi" initials="J" lastIdx="42" clrIdx="2"/>
  <p:cmAuthor id="851" name="未知用户452" initials="未" lastIdx="2" clrIdx="0"/>
  <p:cmAuthor id="55" name="PC" initials="P" lastIdx="19" clrIdx="3"/>
  <p:cmAuthor id="852" name="未知用户456" initials="未" lastIdx="1" clrIdx="0"/>
  <p:cmAuthor id="56" name="仝德志" initials="仝" lastIdx="1" clrIdx="0"/>
  <p:cmAuthor id="853" name="未知用户464" initials="未" lastIdx="0" clrIdx="0"/>
  <p:cmAuthor id="57" name="stillu" initials="s" lastIdx="1" clrIdx="0"/>
  <p:cmAuthor id="854" name="未知用户487" initials="未" lastIdx="0" clrIdx="0"/>
  <p:cmAuthor id="58" name="吴晓梅" initials="吴" lastIdx="12" clrIdx="1"/>
  <p:cmAuthor id="855" name="部室管理员/软件开发中心/总行机关/ABC" initials="部" lastIdx="1" clrIdx="5"/>
  <p:cmAuthor id="59" name="liquanxi" initials="l" lastIdx="0" clrIdx="0"/>
  <p:cmAuthor id="60" name="HaoshuaiWu" initials="H" lastIdx="1" clrIdx="0"/>
  <p:cmAuthor id="857" name="李静" initials="李" lastIdx="1" clrIdx="29"/>
  <p:cmAuthor id="61" name="w00100437" initials="" lastIdx="1" clrIdx="0"/>
  <p:cmAuthor id="858" name="袁广涛" initials="袁" lastIdx="2" clrIdx="0"/>
  <p:cmAuthor id="62" name="王怀璋" initials="王" lastIdx="1" clrIdx="0"/>
  <p:cmAuthor id="63" name="lenovo0" initials="l" lastIdx="1" clrIdx="0"/>
  <p:cmAuthor id="860" name="22010" initials="2" lastIdx="1" clrIdx="859"/>
  <p:cmAuthor id="64" name="YANQING BAO" initials="Y" lastIdx="3" clrIdx="0"/>
  <p:cmAuthor id="861" name="seki" initials="s" lastIdx="1" clrIdx="0"/>
  <p:cmAuthor id="65" name="Tracy Chen" initials="T" lastIdx="1" clrIdx="0"/>
  <p:cmAuthor id="862" name="未知用户140" initials="未" lastIdx="0" clrIdx="1"/>
  <p:cmAuthor id="66" name="dongwc0205" initials="d" lastIdx="1" clrIdx="15"/>
  <p:cmAuthor id="863" name="daliang xu" initials="d" lastIdx="1" clrIdx="0"/>
  <p:cmAuthor id="67" name="朱 凤池" initials="朱" lastIdx="3" clrIdx="28"/>
  <p:cmAuthor id="864" name="刘凯欣" initials="刘" lastIdx="2" clrIdx="0"/>
  <p:cmAuthor id="68" name="高珊(寿险深圳分公司银保渠道管理团队)" initials="高珊(寿险深圳分公司银保渠道管理团队)" lastIdx="1" clrIdx="29"/>
  <p:cmAuthor id="865" name="3930" initials="3" lastIdx="1" clrIdx="24"/>
  <p:cmAuthor id="69" name="jxgy15" initials="j" lastIdx="0" clrIdx="0"/>
  <p:cmAuthor id="866" name="Chinalife_Cz" initials="C" lastIdx="1" clrIdx="0"/>
  <p:cmAuthor id="70" name="朱粒" initials="朱" lastIdx="1" clrIdx="2"/>
  <p:cmAuthor id="71" name="未知用户9" initials="未" lastIdx="7" clrIdx="0"/>
  <p:cmAuthor id="868" name="李昀东" initials="李" lastIdx="1" clrIdx="0"/>
  <p:cmAuthor id="72" name="H1900" initials="H" lastIdx="1" clrIdx="0"/>
  <p:cmAuthor id="869" name="ChinaLife" initials="C" lastIdx="1" clrIdx="222"/>
  <p:cmAuthor id="73" name="王航" initials="王" lastIdx="2" clrIdx="1"/>
  <p:cmAuthor id="870" name="理者" initials="理" lastIdx="2" clrIdx="0"/>
  <p:cmAuthor id="74" name="回校" initials="回" lastIdx="1" clrIdx="0"/>
  <p:cmAuthor id="871" name="闪电杰尼" initials="闪" lastIdx="1" clrIdx="870"/>
  <p:cmAuthor id="75" name="116304" initials="1" lastIdx="1" clrIdx="1"/>
  <p:cmAuthor id="872" name="翔宇" initials="翔" lastIdx="1" clrIdx="19"/>
  <p:cmAuthor id="76" name="Microsoft Office User" initials="MOU" lastIdx="1" clrIdx="25"/>
  <p:cmAuthor id="873" name="t-1i-caiwu" initials="t" lastIdx="2" clrIdx="0"/>
  <p:cmAuthor id="77" name="未知的使用者30" initials="未" lastIdx="8" clrIdx="0"/>
  <p:cmAuthor id="874" name="zhaoyue46" initials="z" lastIdx="6" clrIdx="0"/>
  <p:cmAuthor id="78" name="未知的使用者31" initials="未" lastIdx="1" clrIdx="0"/>
  <p:cmAuthor id="875" name="449030419@qq.com" initials="4" lastIdx="1" clrIdx="0"/>
  <p:cmAuthor id="79" name="未知的使用者32" initials="未" lastIdx="1" clrIdx="0"/>
  <p:cmAuthor id="876" name="未知用户111" initials="未" lastIdx="2" clrIdx="0"/>
  <p:cmAuthor id="1316121247" name="林桦桦" initials="林" lastIdx="18242" clrIdx="0"/>
  <p:cmAuthor id="80" name="未知的使用者51" initials="未" lastIdx="10" clrIdx="0"/>
  <p:cmAuthor id="877" name="未知用户112" initials="未" lastIdx="1" clrIdx="0"/>
  <p:cmAuthor id="1316121248" name="HANJINGJING743" initials="H" lastIdx="1" clrIdx="1316121247"/>
  <p:cmAuthor id="81" name="Tracy" initials="T" lastIdx="1" clrIdx="80"/>
  <p:cmAuthor id="878" name="未知用户113" initials="未" lastIdx="1" clrIdx="0"/>
  <p:cmAuthor id="82" name="yangdi" initials="y" lastIdx="8" clrIdx="0"/>
  <p:cmAuthor id="83" name="Microsoft Office 用户" initials="M" lastIdx="0" clrIdx="0"/>
  <p:cmAuthor id="880" name="宋洁然" initials="宋" lastIdx="2" clrIdx="1"/>
  <p:cmAuthor id="84" name="DELL" initials="D" lastIdx="1" clrIdx="21"/>
  <p:cmAuthor id="881" name="ming qiu" initials="m" lastIdx="17" clrIdx="1"/>
  <p:cmAuthor id="85" name="Elfie" initials="E" lastIdx="1" clrIdx="0"/>
  <p:cmAuthor id="882" name="Eileen Yi" initials="E" lastIdx="35" clrIdx="8"/>
  <p:cmAuthor id="86" name="未知用户17" initials="未" lastIdx="0" clrIdx="1"/>
  <p:cmAuthor id="883" name="dellwin" initials="d" lastIdx="5" clrIdx="0"/>
  <p:cmAuthor id="87" name="徐 宁" initials="徐" lastIdx="1" clrIdx="0"/>
  <p:cmAuthor id="884" name="未知用户410" initials="未" lastIdx="1" clrIdx="0"/>
  <p:cmAuthor id="88" name="liupeng" initials="l" lastIdx="1" clrIdx="1"/>
  <p:cmAuthor id="89" name="未知用户33" initials="未" lastIdx="1" clrIdx="0"/>
  <p:cmAuthor id="886" name="张妍" initials="张" lastIdx="3" clrIdx="0"/>
  <p:cmAuthor id="90" name="mawei19" initials="m" lastIdx="1" clrIdx="21"/>
  <p:cmAuthor id="887" name="wangqi01-lhe" initials="w" lastIdx="3" clrIdx="23"/>
  <p:cmAuthor id="91" name="Han Bo" initials="H" lastIdx="7" clrIdx="22"/>
  <p:cmAuthor id="888" name="ae2000" initials="a" lastIdx="1" clrIdx="0"/>
  <p:cmAuthor id="92" name="李 寒秋" initials="李" lastIdx="1" clrIdx="22"/>
  <p:cmAuthor id="889" name="黄梅" initials="黄" lastIdx="1" clrIdx="1"/>
  <p:cmAuthor id="93" name="未知用户37" initials="未" lastIdx="1" clrIdx="0"/>
  <p:cmAuthor id="890" name="赵生杰" initials="赵" lastIdx="1" clrIdx="0"/>
  <p:cmAuthor id="94" name="未知用户38" initials="未" lastIdx="0" clrIdx="0"/>
  <p:cmAuthor id="95" name="未知用户39" initials="未" lastIdx="1" clrIdx="0"/>
  <p:cmAuthor id="892" name="Abel" initials="A" lastIdx="1" clrIdx="0"/>
  <p:cmAuthor id="96" name="未知用户40" initials="未" lastIdx="0" clrIdx="0"/>
  <p:cmAuthor id="893" name="xq" initials="x" lastIdx="2" clrIdx="11"/>
  <p:cmAuthor id="97" name="李鹏飞" initials="李" lastIdx="1" clrIdx="1"/>
  <p:cmAuthor id="98" name="Calvin G" initials="C" lastIdx="1" clrIdx="0"/>
  <p:cmAuthor id="895" name="刘莹" initials="刘" lastIdx="1" clrIdx="2"/>
  <p:cmAuthor id="99" name="lp" initials="l" lastIdx="1" clrIdx="0"/>
  <p:cmAuthor id="896" name="hasee" initials="h" lastIdx="1" clrIdx="0"/>
  <p:cmAuthor id="100" name="MC SYSTEM" initials="M" lastIdx="2" clrIdx="0"/>
  <p:cmAuthor id="897" name="贝贝ai猪" initials="贝" lastIdx="1" clrIdx="119"/>
  <p:cmAuthor id="101" name="spring_ren" initials="s" lastIdx="2" clrIdx="1"/>
  <p:cmAuthor id="898" name="User_2" initials="U" lastIdx="3" clrIdx="1"/>
  <p:cmAuthor id="102" name="viola_yang" initials="v" lastIdx="2" clrIdx="2"/>
  <p:cmAuthor id="899" name="未知用户42" initials="未" lastIdx="1" clrIdx="15"/>
  <p:cmAuthor id="103" name="levy" initials="l" lastIdx="2" clrIdx="0"/>
  <p:cmAuthor id="900" name="sdzz-syy" initials="s" lastIdx="1" clrIdx="0"/>
  <p:cmAuthor id="104" name="李璐---寿险总公司营销管理部" initials="李" lastIdx="0" clrIdx="0"/>
  <p:cmAuthor id="901" name="谢俊/技术总监室/软件开发中心/总行机关/ABC" initials="谢" lastIdx="141" clrIdx="2"/>
  <p:cmAuthor id="105" name="xuqing" initials="x" lastIdx="4" clrIdx="0"/>
  <p:cmAuthor id="902" name="CN=谢俊/OU=技术总监室/OU=软件开发中心/OU=总行机关/O=ABC" initials="C" lastIdx="3" clrIdx="3"/>
  <p:cmAuthor id="106" name="王顶" initials="王" lastIdx="1" clrIdx="0"/>
  <p:cmAuthor id="903" name="wpp" initials="w" lastIdx="0" clrIdx="0"/>
  <p:cmAuthor id="107" name="minty minty" initials="m" lastIdx="1" clrIdx="0"/>
  <p:cmAuthor id="904" name="nieyp" initials="n" lastIdx="2" clrIdx="0"/>
  <p:cmAuthor id="108" name="未知用户87" initials="未" lastIdx="2" clrIdx="0"/>
  <p:cmAuthor id="905" name="AbuSina" initials="A" lastIdx="2" clrIdx="0"/>
  <p:cmAuthor id="109" name="CHEN LONG" initials="C" lastIdx="1" clrIdx="21"/>
  <p:cmAuthor id="906" name="zhengwen" initials="z" lastIdx="1" clrIdx="0"/>
  <p:cmAuthor id="110" name="彬 罗" initials="彬" lastIdx="1" clrIdx="1"/>
  <p:cmAuthor id="907" name="chinalife" initials="c" lastIdx="1" clrIdx="0"/>
  <p:cmAuthor id="111" name="cuizijin01" initials="c" lastIdx="6" clrIdx="2"/>
  <p:cmAuthor id="908" name="wangsc" initials="w" lastIdx="1" clrIdx="34"/>
  <p:cmAuthor id="112" name="罗彬" initials="罗" lastIdx="1" clrIdx="0"/>
  <p:cmAuthor id="909" name="tk-taiyuan" initials="t" lastIdx="1" clrIdx="741"/>
  <p:cmAuthor id="113" name="刘盛潮" initials="刘" lastIdx="8" clrIdx="0"/>
  <p:cmAuthor id="910" name="chenzheng4" initials="c" lastIdx="1" clrIdx="22"/>
  <p:cmAuthor id="114" name="1 mac" initials="1" lastIdx="1" clrIdx="0"/>
  <p:cmAuthor id="911" name="王 震环" initials="王" lastIdx="6" clrIdx="23"/>
  <p:cmAuthor id="115" name="未知用户86" initials="未" lastIdx="1" clrIdx="0"/>
  <p:cmAuthor id="912" name="未知用户53" initials="未" lastIdx="1" clrIdx="0"/>
  <p:cmAuthor id="116" name="新萝卜家园" initials="新" lastIdx="0" clrIdx="0"/>
  <p:cmAuthor id="913" name="Office" initials="O" lastIdx="1" clrIdx="0"/>
  <p:cmAuthor id="117" name="songchunhua" initials="s" lastIdx="0" clrIdx="0"/>
  <p:cmAuthor id="914" name="Saku Uchikawa" initials="S" lastIdx="11" clrIdx="0"/>
  <p:cmAuthor id="118" name="宋春华" initials="宋" lastIdx="12" clrIdx="1"/>
  <p:cmAuthor id="915" name="刘彩琴" initials="刘" lastIdx="1" clrIdx="0"/>
  <p:cmAuthor id="119" name="lixiaosong" initials="l" lastIdx="0" clrIdx="2"/>
  <p:cmAuthor id="916" name="bc" initials="b" lastIdx="1" clrIdx="0"/>
  <p:cmAuthor id="120" name="未知用户78" initials="未" lastIdx="1" clrIdx="0"/>
  <p:cmAuthor id="917" name="z cl" initials="z" lastIdx="8" clrIdx="0"/>
  <p:cmAuthor id="121" name="马妍" initials="马" lastIdx="1" clrIdx="0"/>
  <p:cmAuthor id="918" name="liuys40" initials="l" lastIdx="2" clrIdx="3"/>
  <p:cmAuthor id="122" name="yanqiqi-lgd" initials="y" lastIdx="2" clrIdx="5"/>
  <p:cmAuthor id="919" name="刘 帅" initials="刘" lastIdx="2" clrIdx="0"/>
  <p:cmAuthor id="123" name="番茄花园" initials="番" lastIdx="4" clrIdx="0"/>
  <p:cmAuthor id="920" name="martin" initials="m" lastIdx="0" clrIdx="2"/>
  <p:cmAuthor id="124" name="caoyq0624" initials="c" lastIdx="2" clrIdx="0"/>
  <p:cmAuthor id="921" name="qin yu" initials="q" lastIdx="2" clrIdx="4"/>
  <p:cmAuthor id="125" name="方朝军/产品推动室/产品开发推广部/总公司" initials="方" lastIdx="2" clrIdx="0"/>
  <p:cmAuthor id="922" name="特力 塔娜" initials="特" lastIdx="1" clrIdx="735"/>
  <p:cmAuthor id="126" name="zq" initials="z" lastIdx="1" clrIdx="0"/>
  <p:cmAuthor id="923" name="jiangjian10" initials="j" lastIdx="1" clrIdx="922"/>
  <p:cmAuthor id="127" name="未知用户28" initials="未" lastIdx="1" clrIdx="1"/>
  <p:cmAuthor id="924" name="李建阳（内蒙古英才管培生）" initials="李" lastIdx="2" clrIdx="0"/>
  <p:cmAuthor id="128" name="temp" initials="t" lastIdx="2" clrIdx="0"/>
  <p:cmAuthor id="925" name="马靖松" initials="马" lastIdx="1" clrIdx="0"/>
  <p:cmAuthor id="129" name="Q Q" initials="Q" lastIdx="1" clrIdx="3"/>
  <p:cmAuthor id="926" name="pingchangxin@outlook.com LI" initials="p" lastIdx="5" clrIdx="0"/>
  <p:cmAuthor id="130" name="柳 先涛" initials="柳" lastIdx="8" clrIdx="0"/>
  <p:cmAuthor id="927" name="张晓燕(内蒙古巴彦淖尔)" initials="张" lastIdx="1" clrIdx="0"/>
  <p:cmAuthor id="131" name="未知的使用者56" initials="未" lastIdx="6" clrIdx="0"/>
  <p:cmAuthor id="928" name="王凯" initials="王" lastIdx="1" clrIdx="0"/>
  <p:cmAuthor id="132" name="FR" initials="F" lastIdx="1" clrIdx="93"/>
  <p:cmAuthor id="929" name="沈琪-pbj" initials="沈" lastIdx="1" clrIdx="0"/>
  <p:cmAuthor id="133" name="Office User" initials="OU" lastIdx="1" clrIdx="94"/>
  <p:cmAuthor id="930" name="njlife" initials="n" lastIdx="2" clrIdx="0"/>
  <p:cmAuthor id="134" name="未知的使用者58" initials="未" lastIdx="1" clrIdx="0"/>
  <p:cmAuthor id="932" name="LUO CHENG" initials="L" lastIdx="1" clrIdx="0"/>
  <p:cmAuthor id="136" name="yuancc04" initials="y" lastIdx="3" clrIdx="0"/>
  <p:cmAuthor id="933" name="scx" initials="s" lastIdx="1" clrIdx="0"/>
  <p:cmAuthor id="137" name="Xinyi" initials="X" lastIdx="1" clrIdx="136"/>
  <p:cmAuthor id="934" name="shenyanning-001" initials="s" lastIdx="8" clrIdx="0"/>
  <p:cmAuthor id="138" name="未知的使用者109" initials="未" lastIdx="5" clrIdx="1"/>
  <p:cmAuthor id="935" name="lipengfei01111@outlook.com" initials="l" lastIdx="1" clrIdx="0"/>
  <p:cmAuthor id="139" name="David Morgan (HI)" initials="D" lastIdx="17" clrIdx="11"/>
  <p:cmAuthor id="936" name="Microsoft 帐户" initials="M" lastIdx="1" clrIdx="0"/>
  <p:cmAuthor id="140" name="Qu song" initials="Q" lastIdx="1" clrIdx="23"/>
  <p:cmAuthor id="937" name="Evander Wan" initials="E" lastIdx="7" clrIdx="1"/>
  <p:cmAuthor id="141" name="未知用户92" initials="未" lastIdx="0" clrIdx="0"/>
  <p:cmAuthor id="142" name="未知用户35" initials="未" lastIdx="1" clrIdx="0"/>
  <p:cmAuthor id="939" name="Simon Camp" initials="S" lastIdx="1" clrIdx="0"/>
  <p:cmAuthor id="143" name="未知的使用者113" initials="未" lastIdx="1" clrIdx="0"/>
  <p:cmAuthor id="940" name="郭佳宏" initials="郭" lastIdx="1" clrIdx="0"/>
  <p:cmAuthor id="144" name="庞宝国" initials="庞" lastIdx="2" clrIdx="0"/>
  <p:cmAuthor id="941" name="王书珍" initials="王" lastIdx="1" clrIdx="1"/>
  <p:cmAuthor id="145" name="Mary Beattie" initials="M" lastIdx="11" clrIdx="11"/>
  <p:cmAuthor id="942" name="何兴胜" initials="何" lastIdx="3" clrIdx="0"/>
  <p:cmAuthor id="146" name="Andrea Michels" initials="A" lastIdx="13" clrIdx="13"/>
  <p:cmAuthor id="943" name="bing" initials="b" lastIdx="2" clrIdx="0"/>
  <p:cmAuthor id="147" name="未知用户97" initials="未" lastIdx="1" clrIdx="0"/>
  <p:cmAuthor id="944" name="hh" initials="h" lastIdx="1" clrIdx="0"/>
  <p:cmAuthor id="148" name="未知用户19" initials="未" lastIdx="3" clrIdx="0"/>
  <p:cmAuthor id="945" name="273839920@qq.com" initials="2" lastIdx="1" clrIdx="0"/>
  <p:cmAuthor id="149" name="未知用户12" initials="未" lastIdx="1" clrIdx="0"/>
  <p:cmAuthor id="150" name="刘笑" initials="刘" lastIdx="1" clrIdx="0"/>
  <p:cmAuthor id="947" name="bai bai" initials="b" lastIdx="1" clrIdx="0"/>
  <p:cmAuthor id="151" name="吕永朋" initials="吕" lastIdx="1" clrIdx="0"/>
  <p:cmAuthor id="948" name="Hope0187" initials="H" lastIdx="1" clrIdx="6"/>
  <p:cmAuthor id="152" name="ju zhang" initials="j" lastIdx="0" clrIdx="1"/>
  <p:cmAuthor id="949" name="靖千 罗" initials="靖" lastIdx="1" clrIdx="82"/>
  <p:cmAuthor id="153" name="未知用户23" initials="未" lastIdx="4" clrIdx="2"/>
  <p:cmAuthor id="950" name="舒迪" initials="舒" lastIdx="2" clrIdx="0"/>
  <p:cmAuthor id="154" name="未知用户27" initials="未" lastIdx="7" clrIdx="0"/>
  <p:cmAuthor id="155" name="未知用户29" initials="未知用户29" lastIdx="1" clrIdx="0"/>
  <p:cmAuthor id="156" name="未知用户26" initials="未" lastIdx="1" clrIdx="3"/>
  <p:cmAuthor id="157" name="未知的使用者73" initials="未" lastIdx="1" clrIdx="0"/>
  <p:cmAuthor id="158" name="510102" initials="5" lastIdx="1" clrIdx="19"/>
  <p:cmAuthor id="955" name="盛红" initials="盛" lastIdx="0" clrIdx="0"/>
  <p:cmAuthor id="159" name="shuaibing" initials="s" lastIdx="5" clrIdx="0"/>
  <p:cmAuthor id="956" name="hanwen luo" initials="h" lastIdx="1" clrIdx="33"/>
  <p:cmAuthor id="160" name="未知用户10" initials="未" lastIdx="1" clrIdx="20"/>
  <p:cmAuthor id="957" name="Cpic" initials="C" lastIdx="0" clrIdx="0"/>
  <p:cmAuthor id="161" name="sivaram" initials="s" lastIdx="1" clrIdx="0"/>
  <p:cmAuthor id="162" name="岳文甲" initials="岳" lastIdx="1" clrIdx="1"/>
  <p:cmAuthor id="959" name="小田" initials="小" lastIdx="1" clrIdx="0"/>
  <p:cmAuthor id="163" name="91huhang" initials="9" lastIdx="1" clrIdx="0"/>
  <p:cmAuthor id="960" name="刘 念" initials="刘" lastIdx="2" clrIdx="35"/>
  <p:cmAuthor id="164" name="未知用户89" initials="未" lastIdx="0" clrIdx="0"/>
  <p:cmAuthor id="961" name="Wangzhi gang" initials="W" lastIdx="1" clrIdx="0"/>
  <p:cmAuthor id="165" name="Ms" initials="M" lastIdx="1" clrIdx="0"/>
  <p:cmAuthor id="962" name="庄伟铭zwm136200" initials="庄" lastIdx="1" clrIdx="1"/>
  <p:cmAuthor id="166" name="未知用户80" initials="未" lastIdx="0" clrIdx="0"/>
  <p:cmAuthor id="963" name="张 凯" initials="张" lastIdx="1" clrIdx="34"/>
  <p:cmAuthor id="167" name="ProMedican" initials="P" lastIdx="2" clrIdx="1"/>
  <p:cmAuthor id="964" name="喰?" initials="喰" lastIdx="20" clrIdx="0"/>
  <p:cmAuthor id="168" name="侯清英" initials="侯" lastIdx="1" clrIdx="0"/>
  <p:cmAuthor id="965" name="CNTP" initials="C" lastIdx="2" clrIdx="118"/>
  <p:cmAuthor id="169" name="齐登宝" initials="齐" lastIdx="1" clrIdx="1"/>
  <p:cmAuthor id="966" name="李柯然" initials="李" lastIdx="1" clrIdx="0"/>
  <p:cmAuthor id="170" name="T DZ" initials="TD" lastIdx="1" clrIdx="23"/>
  <p:cmAuthor id="967" name="LENOVO" initials="L" lastIdx="1" clrIdx="0"/>
  <p:cmAuthor id="171" name="sunxp002" initials="s" lastIdx="7" clrIdx="13"/>
  <p:cmAuthor id="968" name="li hw" initials="l" lastIdx="1" clrIdx="36"/>
  <p:cmAuthor id="172" name="sunlj002" initials="s" lastIdx="5" clrIdx="1"/>
  <p:cmAuthor id="969" name="王玉" initials="王" lastIdx="1" clrIdx="0"/>
  <p:cmAuthor id="173" name="雷庭" initials="雷" lastIdx="8" clrIdx="0"/>
  <p:cmAuthor id="970" name="Ming Zuo" initials="M" lastIdx="1" clrIdx="0"/>
  <p:cmAuthor id="174" name="ht guo" initials="h" lastIdx="0" clrIdx="1"/>
  <p:cmAuthor id="176" name="梁潇-lhq" initials="梁" lastIdx="1" clrIdx="0"/>
  <p:cmAuthor id="973" name="张星-lgd" initials="张" lastIdx="5" clrIdx="0"/>
  <p:cmAuthor id="177" name="未知用户100" initials="未" lastIdx="0" clrIdx="0"/>
  <p:cmAuthor id="974" name="dreamsummit" initials="d" lastIdx="1" clrIdx="0"/>
  <p:cmAuthor id="178" name="未知用户52" initials="未" lastIdx="0" clrIdx="1"/>
  <p:cmAuthor id="975" name="张 博" initials="张" lastIdx="1" clrIdx="0"/>
  <p:cmAuthor id="179" name="未知用户85" initials="未" lastIdx="1" clrIdx="0"/>
  <p:cmAuthor id="976" name="LS" initials="L" lastIdx="1" clrIdx="0"/>
  <p:cmAuthor id="180" name="Windows" initials="W" lastIdx="1" clrIdx="3"/>
  <p:cmAuthor id="181" name="YANGS-PC" initials="Y" lastIdx="0" clrIdx="0"/>
  <p:cmAuthor id="978" name="Morgan, Aaron" initials="M" lastIdx="3" clrIdx="1"/>
  <p:cmAuthor id="182" name="jilin" initials="j" lastIdx="20" clrIdx="0"/>
  <p:cmAuthor id="979" name="weige" initials="w" lastIdx="2" clrIdx="0"/>
  <p:cmAuthor id="183" name="郭书含" initials="郭" lastIdx="1" clrIdx="0"/>
  <p:cmAuthor id="980" name="chen" initials="c" lastIdx="1" clrIdx="0"/>
  <p:cmAuthor id="184" name="未知的使用者95" initials="未" lastIdx="1" clrIdx="0"/>
  <p:cmAuthor id="981" name="李 俊琦" initials="李" lastIdx="1" clrIdx="0"/>
  <p:cmAuthor id="185" name="пользователь Microsoft Office" initials="п" lastIdx="1" clrIdx="0"/>
  <p:cmAuthor id="982" name="沈 鹤" initials="沈" lastIdx="1" clrIdx="5"/>
  <p:cmAuthor id="186" name="刘淼" initials="刘" lastIdx="4" clrIdx="6"/>
  <p:cmAuthor id="187" name="Office 365" initials="O" lastIdx="1" clrIdx="0"/>
  <p:cmAuthor id="984" name="王保青-pah" initials="王" lastIdx="0" clrIdx="0"/>
  <p:cmAuthor id="188" name="1716266060@qq.com" initials="1" lastIdx="1" clrIdx="0"/>
  <p:cmAuthor id="985" name="Luo Mingjie" initials="L" lastIdx="0" clrIdx="0"/>
  <p:cmAuthor id="189" name="程学春 cxc" initials="程" lastIdx="1" clrIdx="0"/>
  <p:cmAuthor id="986" name="Jason Li" initials="J" lastIdx="1" clrIdx="2"/>
  <p:cmAuthor id="190" name="chenli8" initials="c" lastIdx="10" clrIdx="0"/>
  <p:cmAuthor id="987" name="duxingge" initials="d" lastIdx="2" clrIdx="4"/>
  <p:cmAuthor id="191" name="448097321@qq.com" initials="4" lastIdx="0" clrIdx="0"/>
  <p:cmAuthor id="192" name="zhumin1" initials="z" lastIdx="1" clrIdx="1"/>
  <p:cmAuthor id="989" name="yingchao xi" initials="y" lastIdx="7" clrIdx="0"/>
  <p:cmAuthor id="193" name="FS" initials="F" lastIdx="1" clrIdx="0"/>
  <p:cmAuthor id="990" name="depeng diao" initials="d" lastIdx="0" clrIdx="0"/>
  <p:cmAuthor id="194" name="Temp" initials="T" lastIdx="0" clrIdx="0"/>
  <p:cmAuthor id="991" name="amyzhang" initials="a" lastIdx="1" clrIdx="0"/>
  <p:cmAuthor id="195" name="刘岸亮" initials="刘" lastIdx="1" clrIdx="0"/>
  <p:cmAuthor id="992" name="JerryW" initials="J" lastIdx="1" clrIdx="0"/>
  <p:cmAuthor id="196" name="雍中婧" initials="雍" lastIdx="26" clrIdx="0"/>
  <p:cmAuthor id="993" name="shenyy" initials="s" lastIdx="1" clrIdx="7"/>
  <p:cmAuthor id="197" name="任斐" initials="任" lastIdx="1" clrIdx="1"/>
  <p:cmAuthor id="994" name="Jason Cheung" initials="J" lastIdx="0" clrIdx="0"/>
  <p:cmAuthor id="198" name="志国 刘" initials="志" lastIdx="1" clrIdx="0"/>
  <p:cmAuthor id="199" name="Author" initials="A" lastIdx="0" clrIdx="2"/>
  <p:cmAuthor id="996" name="admini" initials="a" lastIdx="2" clrIdx="0"/>
  <p:cmAuthor id="200" name="lin lin" initials="l" lastIdx="1" clrIdx="0"/>
  <p:cmAuthor id="997" name="Maggie" initials="M" lastIdx="1" clrIdx="0"/>
  <p:cmAuthor id="201" name="邓蓉榕" initials="邓" lastIdx="1" clrIdx="0"/>
  <p:cmAuthor id="202" name="b1487" initials="b" lastIdx="1" clrIdx="0"/>
  <p:cmAuthor id="203" name="未知用户149" initials="未" lastIdx="0" clrIdx="0"/>
  <p:cmAuthor id="204" name="deeplm" initials="d" lastIdx="1" clrIdx="0"/>
  <p:cmAuthor id="205" name="Zhou Xuanjun" initials="Z" lastIdx="1" clrIdx="0"/>
  <p:cmAuthor id="206" name="M7100z-win7" initials="M" lastIdx="1" clrIdx="6"/>
  <p:cmAuthor id="207" name="Kingsoft" initials="K" lastIdx="2" clrIdx="0"/>
  <p:cmAuthor id="208" name="聂潇丽" initials="聂" lastIdx="1" clrIdx="0"/>
  <p:cmAuthor id="209" name="未知的使用者134" initials="未" lastIdx="1" clrIdx="0"/>
  <p:cmAuthor id="210" name="韩冰" initials="韩" lastIdx="4" clrIdx="0"/>
  <p:cmAuthor id="211" name="未知的使用者136" initials="未" lastIdx="1" clrIdx="0"/>
  <p:cmAuthor id="212" name="袁缘" initials="袁" lastIdx="0" clrIdx="0"/>
  <p:cmAuthor id="213" name="Lenovo" initials="L" lastIdx="1" clrIdx="21"/>
  <p:cmAuthor id="214" name="xt256.com" initials="x" lastIdx="1" clrIdx="0"/>
  <p:cmAuthor id="215" name="未知的使用者140" initials="未" lastIdx="1" clrIdx="1"/>
  <p:cmAuthor id="216" name="Meredith Kalish" initials="M" lastIdx="19" clrIdx="10"/>
  <p:cmAuthor id="217" name="未知用户183" initials="未" lastIdx="1" clrIdx="0"/>
  <p:cmAuthor id="218" name="未知用户184" initials="未" lastIdx="2" clrIdx="0"/>
  <p:cmAuthor id="219" name="Wanwei Liang" initials="W" lastIdx="1" clrIdx="0"/>
  <p:cmAuthor id="220" name="acer" initials="a" lastIdx="1" clrIdx="0"/>
  <p:cmAuthor id="221" name="未知用户186" initials="未" lastIdx="1" clrIdx="0"/>
  <p:cmAuthor id="222" name="HP" initials="H" lastIdx="1" clrIdx="22"/>
  <p:cmAuthor id="223" name="Yun-Ting Tseng" initials="Y" lastIdx="7" clrIdx="0"/>
  <p:cmAuthor id="224" name="Miss 豆" initials="M" lastIdx="0" clrIdx="0"/>
  <p:cmAuthor id="225" name="未知用户47" initials="未" lastIdx="1" clrIdx="0"/>
  <p:cmAuthor id="226" name="未知用户32" initials="未" lastIdx="1" clrIdx="0"/>
  <p:cmAuthor id="227" name="未知用户25" initials="未" lastIdx="8" clrIdx="0"/>
  <p:cmAuthor id="228" name="吕 阔" initials="吕" lastIdx="1" clrIdx="22"/>
  <p:cmAuthor id="229" name="未知的使用者168" initials="未" lastIdx="1" clrIdx="0"/>
  <p:cmAuthor id="230" name="蓝 李宇星" initials="蓝" lastIdx="4" clrIdx="2"/>
  <p:cmAuthor id="231" name="Isabella" initials="I" lastIdx="4" clrIdx="4"/>
  <p:cmAuthor id="232" name="何慧丽" initials="何" lastIdx="1" clrIdx="0"/>
  <p:cmAuthor id="233" name="未知用户43" initials="未" lastIdx="1" clrIdx="1"/>
  <p:cmAuthor id="234" name="未知用户44" initials="未" lastIdx="1" clrIdx="0"/>
  <p:cmAuthor id="235" name="未知用户45" initials="未" lastIdx="1" clrIdx="0"/>
  <p:cmAuthor id="236" name="未知用户30" initials="未" lastIdx="1" clrIdx="0"/>
  <p:cmAuthor id="237" name="未知用户31" initials="未" lastIdx="1" clrIdx="1"/>
  <p:cmAuthor id="238" name="幸全" initials="幸" lastIdx="1" clrIdx="0"/>
  <p:cmAuthor id="239" name="未知的使用者200" initials="未" lastIdx="1" clrIdx="0"/>
  <p:cmAuthor id="240" name="2819264246@qq.com" initials="2" lastIdx="1" clrIdx="22"/>
  <p:cmAuthor id="241" name="public" initials="p" lastIdx="2" clrIdx="0"/>
  <p:cmAuthor id="242" name="程玉珍" initials="程" lastIdx="2" clrIdx="143"/>
  <p:cmAuthor id="243" name="Poseidon" initials="P" lastIdx="1" clrIdx="0"/>
  <p:cmAuthor id="244" name="zhaoxx" initials="z" lastIdx="1" clrIdx="243"/>
  <p:cmAuthor id="245" name="sun frank" initials="s" lastIdx="1" clrIdx="0"/>
  <p:cmAuthor id="246" name="鱼 飞" initials="鱼" lastIdx="2" clrIdx="0"/>
  <p:cmAuthor id="247" name="sdlife" initials="s" lastIdx="3" clrIdx="1"/>
  <p:cmAuthor id="248" name="未知的使用者201" initials="未" lastIdx="8" clrIdx="0"/>
  <p:cmAuthor id="249" name="李昕玫" initials="李" lastIdx="1" clrIdx="0"/>
  <p:cmAuthor id="250" name="lianxing liao" initials="l" lastIdx="1" clrIdx="0"/>
  <p:cmAuthor id="251" name="未知用户" initials="未" lastIdx="1" clrIdx="0"/>
  <p:cmAuthor id="252" name="yangysh" initials="y" lastIdx="1" clrIdx="0"/>
  <p:cmAuthor id="253" name="李 斌" initials="李" lastIdx="3" clrIdx="0"/>
  <p:cmAuthor id="254" name="周涛" initials="周" lastIdx="1" clrIdx="0"/>
  <p:cmAuthor id="255" name="严之" initials="严" lastIdx="3" clrIdx="0"/>
  <p:cmAuthor id="256" name="程诗媛" initials="程" lastIdx="4" clrIdx="1"/>
  <p:cmAuthor id="257" name="张洲萌" initials="张" lastIdx="1" clrIdx="23"/>
  <p:cmAuthor id="258" name="李晨曦" initials="李" lastIdx="14" clrIdx="0"/>
  <p:cmAuthor id="259" name="翟宏帅" initials="翟" lastIdx="1" clrIdx="0"/>
  <p:cmAuthor id="260" name="朱雪松" initials="朱" lastIdx="2" clrIdx="2"/>
  <p:cmAuthor id="261" name="未知的使用者38" initials="未" lastIdx="1" clrIdx="0"/>
  <p:cmAuthor id="262" name="zhang ju" initials="z" lastIdx="1" clrIdx="0"/>
  <p:cmAuthor id="263" name="xuhaoyu" initials="x" lastIdx="1" clrIdx="1"/>
  <p:cmAuthor id="264" name="史璐瑶" initials="史" lastIdx="1" clrIdx="23"/>
  <p:cmAuthor id="265" name="lixun" initials="l" lastIdx="0" clrIdx="16"/>
  <p:cmAuthor id="266" name="未知的使用者64" initials="未" lastIdx="8" clrIdx="0"/>
  <p:cmAuthor id="267" name="未知的使用者65" initials="未" lastIdx="1" clrIdx="0"/>
  <p:cmAuthor id="268" name="中国人寿曲阜公司个险部" initials="中" lastIdx="1" clrIdx="17"/>
  <p:cmAuthor id="269" name="未知用户148" initials="未" lastIdx="1" clrIdx="0"/>
  <p:cmAuthor id="270" name="陈林" initials="陈" lastIdx="1" clrIdx="0"/>
  <p:cmAuthor id="271" name="李娟" initials="李" lastIdx="7" clrIdx="0"/>
  <p:cmAuthor id="272" name="张梦莞" initials="张" lastIdx="1" clrIdx="27"/>
  <p:cmAuthor id="273" name="可臣 王" initials="可" lastIdx="2" clrIdx="0"/>
  <p:cmAuthor id="274" name="qqqqq" initials="q" lastIdx="2" clrIdx="0"/>
  <p:cmAuthor id="275" name="未知用户154" initials="未" lastIdx="1" clrIdx="0"/>
  <p:cmAuthor id="277" name="未知用户156" initials="未" lastIdx="15" clrIdx="0"/>
  <p:cmAuthor id="279" name="未知用户158" initials="未" lastIdx="7" clrIdx="0"/>
  <p:cmAuthor id="280" name="未知用户159" initials="未" lastIdx="1" clrIdx="0"/>
  <p:cmAuthor id="281" name="朴鹏-lhq" initials="朴" lastIdx="0" clrIdx="18"/>
  <p:cmAuthor id="282" name="未知用户161" initials="未" lastIdx="1" clrIdx="0"/>
  <p:cmAuthor id="283" name="未知用户162" initials="未" lastIdx="2" clrIdx="0"/>
  <p:cmAuthor id="284" name="WANGYUAN103" initials="W" lastIdx="1" clrIdx="283"/>
  <p:cmAuthor id="285" name="未知用户146" initials="未" lastIdx="1" clrIdx="21"/>
  <p:cmAuthor id="286" name="未知用户147" initials="未" lastIdx="1" clrIdx="0"/>
  <p:cmAuthor id="287" name="KK Yoda" initials="K" lastIdx="1" clrIdx="10"/>
  <p:cmAuthor id="288" name="Changing Zhuang" initials="C" lastIdx="1" clrIdx="1"/>
  <p:cmAuthor id="289" name="未知用户177" initials="未" lastIdx="7" clrIdx="0"/>
  <p:cmAuthor id="290" name="未知用户163" initials="未" lastIdx="1" clrIdx="0"/>
  <p:cmAuthor id="291" name="未知用户151" initials="未" lastIdx="0" clrIdx="1"/>
  <p:cmAuthor id="292" name="未知用户180" initials="未" lastIdx="0" clrIdx="0"/>
  <p:cmAuthor id="293" name="未知用户164" initials="未" lastIdx="0" clrIdx="1"/>
  <p:cmAuthor id="294" name="未知用户182" initials="未" lastIdx="1" clrIdx="0"/>
  <p:cmAuthor id="296" name="未知用户155" initials="未" lastIdx="2" clrIdx="0"/>
  <p:cmAuthor id="297" name="未知用户187" initials="未" lastIdx="0" clrIdx="0"/>
  <p:cmAuthor id="298" name="未知用户157" initials="未" lastIdx="1" clrIdx="0"/>
  <p:cmAuthor id="299" name="未知用户185" initials="未" lastIdx="1" clrIdx="21"/>
  <p:cmAuthor id="300" name="哒哒 熊猫" initials="哒" lastIdx="1" clrIdx="0"/>
  <p:cmAuthor id="301" name="未知用户160" initials="未" lastIdx="1" clrIdx="0"/>
  <p:cmAuthor id="303" name="G" initials="G" lastIdx="1" clrIdx="22"/>
  <p:cmAuthor id="304" name="我" initials="我" lastIdx="1" clrIdx="32"/>
  <p:cmAuthor id="305" name="??" initials="?" lastIdx="1" clrIdx="0"/>
  <p:cmAuthor id="306" name="Smilyrwj" initials="S" lastIdx="1" clrIdx="140"/>
  <p:cmAuthor id="307" name="821375975@qq.com" initials="8" lastIdx="1" clrIdx="23"/>
  <p:cmAuthor id="308" name="tkyan" initials="t" lastIdx="1" clrIdx="16"/>
  <p:cmAuthor id="310" name="刘仕俭" initials="刘" lastIdx="1" clrIdx="0"/>
  <p:cmAuthor id="313" name="86139" initials="8" lastIdx="1" clrIdx="0"/>
  <p:cmAuthor id="314" name="未知用户179" initials="未" lastIdx="1" clrIdx="0"/>
  <p:cmAuthor id="315" name="cpic" initials="c" lastIdx="0" clrIdx="0"/>
  <p:cmAuthor id="316" name="未知用户181" initials="未" lastIdx="0" clrIdx="1"/>
  <p:cmAuthor id="318" name="中星 叶" initials="中" lastIdx="1" clrIdx="22"/>
  <p:cmAuthor id="320" name="倚海听风" initials="倚" lastIdx="1" clrIdx="21"/>
  <p:cmAuthor id="321" name="CodonMedical" initials="C" lastIdx="109" clrIdx="2"/>
  <p:cmAuthor id="322" name="Yvonne Lin" initials="Y" lastIdx="35" clrIdx="3"/>
  <p:cmAuthor id="323" name="Gallivan, John-Paul {MDAO~Basel}" initials="G" lastIdx="4" clrIdx="4"/>
  <p:cmAuthor id="324" name="Helms, Hans-Joachim {MDBA~Basel}" initials="H" lastIdx="36" clrIdx="5"/>
  <p:cmAuthor id="325" name="Codon Medical" initials="C" lastIdx="57" clrIdx="6"/>
  <p:cmAuthor id="326" name="Petersen, Jenny {MDBD~South San Francisco}" initials="P" lastIdx="4" clrIdx="7"/>
  <p:cmAuthor id="329" name="未知用户105" initials="未" lastIdx="1" clrIdx="8"/>
  <p:cmAuthor id="330" name="未知用户108" initials="未" lastIdx="1" clrIdx="0"/>
  <p:cmAuthor id="331" name="未知用户72" initials="未" lastIdx="2" clrIdx="0"/>
  <p:cmAuthor id="332" name="未知用户73" initials="未" lastIdx="1" clrIdx="0"/>
  <p:cmAuthor id="333" name="未知用户74" initials="未" lastIdx="0" clrIdx="0"/>
  <p:cmAuthor id="334" name="未知用户110" initials="未" lastIdx="14" clrIdx="0"/>
  <p:cmAuthor id="335" name="未知用户77" initials="未" lastIdx="2" clrIdx="0"/>
  <p:cmAuthor id="336" name="未知用户65" initials="未" lastIdx="1" clrIdx="0"/>
  <p:cmAuthor id="337" name="Machackova, Zuzana {MDAO~Basel}" initials="M" lastIdx="37" clrIdx="5"/>
  <p:cmAuthor id="338" name="百里 长青" initials="百" lastIdx="1" clrIdx="0"/>
  <p:cmAuthor id="339" name="Bart Baranowski (HI)" initials="B" lastIdx="16" clrIdx="7"/>
  <p:cmAuthor id="340" name="zhaoby01" initials="z" lastIdx="2" clrIdx="6"/>
  <p:cmAuthor id="341" name="Lydia" initials="L" lastIdx="1" clrIdx="0"/>
  <p:cmAuthor id="342" name="Andrew Moss (HI)" initials="A" lastIdx="10" clrIdx="10"/>
  <p:cmAuthor id="343" name="熘?" initials="熘" lastIdx="1" clrIdx="0"/>
  <p:cmAuthor id="344" name="Kate Sillitoe (HI)" initials="K" lastIdx="4" clrIdx="12"/>
  <p:cmAuthor id="345" name="孟轩君" initials="孟" lastIdx="2" clrIdx="0"/>
  <p:cmAuthor id="346" name="谷雨" initials="谷" lastIdx="1" clrIdx="0"/>
  <p:cmAuthor id="347" name="taowei" initials="t" lastIdx="1" clrIdx="0"/>
  <p:cmAuthor id="348" name="齐涛" initials="齐" lastIdx="1" clrIdx="0"/>
  <p:cmAuthor id="349" name="Dizzy" initials="D" lastIdx="3" clrIdx="0"/>
  <p:cmAuthor id="351" name="星辰" initials="星" lastIdx="1" clrIdx="217"/>
  <p:cmAuthor id="352" name="孙璐璐" initials="孙" lastIdx="1" clrIdx="0"/>
  <p:cmAuthor id="353" name="1003776019@qq.com" initials="1" lastIdx="1" clrIdx="33"/>
  <p:cmAuthor id="357" name="刘风香" initials="刘" lastIdx="5" clrIdx="20"/>
  <p:cmAuthor id="361" name="Melanie Smitt" initials="M" lastIdx="33" clrIdx="12"/>
  <p:cmAuthor id="362" name="未知用户49" initials="未" lastIdx="2" clrIdx="0"/>
  <p:cmAuthor id="363" name="Daniel Clyde (HI)" initials="D" lastIdx="24" clrIdx="0"/>
  <p:cmAuthor id="364" name="Fitzpatrick, Nicole {MGAO~Basel}" initials="F" lastIdx="16" clrIdx="1"/>
  <p:cmAuthor id="365" name="未知用户94" initials="未" lastIdx="0" clrIdx="0"/>
  <p:cmAuthor id="366" name="未知用户95" initials="未" lastIdx="1" clrIdx="0"/>
  <p:cmAuthor id="367" name="未知用户96" initials="未" lastIdx="0" clrIdx="1"/>
  <p:cmAuthor id="368" name="未知用户99" initials="未" lastIdx="10" clrIdx="0"/>
  <p:cmAuthor id="370" name="Helen Keyworth (HI)" initials="H" lastIdx="77" clrIdx="8"/>
  <p:cmAuthor id="371" name="Louise Adamson (HI)" initials="L" lastIdx="173" clrIdx="9"/>
  <p:cmAuthor id="372" name="武立强" initials="武" lastIdx="1" clrIdx="0"/>
  <p:cmAuthor id="373" name="Yoda KK" initials="Y" lastIdx="1" clrIdx="10"/>
  <p:cmAuthor id="376" name="hpguan" initials="h" lastIdx="27" clrIdx="0"/>
  <p:cmAuthor id="377" name="甘源" initials="甘" lastIdx="4" clrIdx="0"/>
  <p:cmAuthor id="378" name="fengyuan03" initials="f" lastIdx="11" clrIdx="1"/>
  <p:cmAuthor id="379" name="何富军" initials="何" lastIdx="1" clrIdx="0"/>
  <p:cmAuthor id="380" name="闫秀丽" initials="闫" lastIdx="0" clrIdx="0"/>
  <p:cmAuthor id="381" name="fafa" initials="f" lastIdx="2" clrIdx="1"/>
  <p:cmAuthor id="382" name="古二蛋" initials="古" lastIdx="1" clrIdx="2"/>
  <p:cmAuthor id="383" name="qatr130" initials="q" lastIdx="1" clrIdx="0"/>
  <p:cmAuthor id="384" name="xusha" initials="x" lastIdx="1" clrIdx="2"/>
  <p:cmAuthor id="386" name="杨睿" initials="杨" lastIdx="12" clrIdx="0"/>
  <p:cmAuthor id="387" name="炸?" initials="炸" lastIdx="2" clrIdx="1"/>
  <p:cmAuthor id="389" name="李 东科" initials="李" lastIdx="1" clrIdx="35"/>
  <p:cmAuthor id="390" name="Liang Dong" initials="L" lastIdx="24" clrIdx="0"/>
  <p:cmAuthor id="393" name="许 爽" initials="许" lastIdx="1" clrIdx="207"/>
  <p:cmAuthor id="394" name="A5937" initials="A" lastIdx="1" clrIdx="137"/>
  <p:cmAuthor id="395" name="袁正海" initials="袁" lastIdx="1" clrIdx="0"/>
  <p:cmAuthor id="396" name="赵倩楠" initials="赵" lastIdx="1" clrIdx="398"/>
  <p:cmAuthor id="398" name="1" initials="1" lastIdx="1" clrIdx="0"/>
  <p:cmAuthor id="399" name="收展部" initials="收" lastIdx="1" clrIdx="398"/>
  <p:cmAuthor id="400" name="YUN Jiayue" initials="Y" lastIdx="9" clrIdx="0"/>
  <p:cmAuthor id="401" name="未知用户84" initials="未" lastIdx="1" clrIdx="0"/>
  <p:cmAuthor id="402" name="think" initials="t" lastIdx="1" clrIdx="0"/>
  <p:cmAuthor id="403" name="樊 现静" initials="樊" lastIdx="1" clrIdx="144"/>
  <p:cmAuthor id="405" name="未知用户88" initials="未" lastIdx="1" clrIdx="0"/>
  <p:cmAuthor id="2000" name="张静_QZZvv2Aj" initials="authorId_625078060" lastIdx="1658295" clrIdx="95"/>
  <p:cmAuthor id="406" name="wangll132" initials="w" lastIdx="1" clrIdx="206"/>
  <p:cmAuthor id="407" name="未知用户90" initials="未" lastIdx="1" clrIdx="0"/>
  <p:cmAuthor id="2001" name="陈培思" initials="陈培思" lastIdx="1" clrIdx="96"/>
  <p:cmAuthor id="2002" name="钱 伟强" initials="钱" lastIdx="2" clrIdx="2"/>
  <p:cmAuthor id="409" name="未知用户93" initials="未" lastIdx="1" clrIdx="0"/>
  <p:cmAuthor id="413" name="过 去" initials="过" lastIdx="1" clrIdx="0"/>
  <p:cmAuthor id="414" name="ChinaUser" initials="C" lastIdx="1" clrIdx="0"/>
  <p:cmAuthor id="415" name="miaott" initials="m" lastIdx="0" clrIdx="195"/>
  <p:cmAuthor id="417" name="未知用户54" initials="未" lastIdx="2" clrIdx="0"/>
  <p:cmAuthor id="418" name="未知用户101" initials="未" lastIdx="1" clrIdx="2"/>
  <p:cmAuthor id="419" name="未知用户75" initials="未" lastIdx="0" clrIdx="0"/>
  <p:cmAuthor id="420" name="未知用户76" initials="未" lastIdx="1" clrIdx="0"/>
  <p:cmAuthor id="427" name="Bonan Qi" initials="B" lastIdx="43" clrIdx="0"/>
  <p:cmAuthor id="428" name="yaoxiaojun" initials="y" lastIdx="1" clrIdx="0"/>
  <p:cmAuthor id="430" name="36216" initials="3" lastIdx="1" clrIdx="429"/>
  <p:cmAuthor id="436" name="asus" initials="a" lastIdx="1" clrIdx="435"/>
  <p:cmAuthor id="437" name="林正阳" initials="林" lastIdx="1" clrIdx="436"/>
  <p:cmAuthor id="453" name="sxp" initials="s" lastIdx="1" clrIdx="2"/>
  <p:cmAuthor id="454" name="allan" initials="a" lastIdx="1" clrIdx="0"/>
  <p:cmAuthor id="455" name="he zhirui" initials="h" lastIdx="1" clrIdx="82"/>
  <p:cmAuthor id="459" name="李红钢" initials="李" lastIdx="1" clrIdx="458"/>
  <p:cmAuthor id="460" name="McGlasson, Louise" initials="M" lastIdx="6" clrIdx="0"/>
  <p:cmAuthor id="461" name="linkplus" initials="l" lastIdx="1" clrIdx="0"/>
  <p:cmAuthor id="462" name="刘国强" initials="刘" lastIdx="1" clrIdx="0"/>
  <p:cmAuthor id="463" name="Why" initials="W" lastIdx="3" clrIdx="462"/>
  <p:cmAuthor id="464" name="罗梁" initials="罗" lastIdx="1" clrIdx="36"/>
  <p:cmAuthor id="465" name="橙子" initials="橙" lastIdx="2" clrIdx="1"/>
  <p:cmAuthor id="466" name="未知用户118" initials="未" lastIdx="1" clrIdx="0"/>
  <p:cmAuthor id="467" name="未知用户103" initials="未" lastIdx="2" clrIdx="1"/>
  <p:cmAuthor id="468" name="范丽萍" initials="范" lastIdx="1" clrIdx="467"/>
  <p:cmAuthor id="469" name="zhuyk" initials="z" lastIdx="1" clrIdx="1"/>
  <p:cmAuthor id="470" name="未知用户119" initials="未" lastIdx="0" clrIdx="0"/>
  <p:cmAuthor id="471" name="未知用户120" initials="未" lastIdx="1" clrIdx="1"/>
  <p:cmAuthor id="472" name="alen" initials="a" lastIdx="2" clrIdx="0"/>
  <p:cmAuthor id="473" name="未知用户121" initials="未" lastIdx="8" clrIdx="0"/>
  <p:cmAuthor id="474" name="未知用户122" initials="未" lastIdx="0" clrIdx="0"/>
  <p:cmAuthor id="475" name="未知用户123" initials="未" lastIdx="1" clrIdx="0"/>
  <p:cmAuthor id="476" name="未知用户124" initials="未" lastIdx="9" clrIdx="0"/>
  <p:cmAuthor id="477" name="未知用户125" initials="未" lastIdx="2" clrIdx="0"/>
  <p:cmAuthor id="478" name="未知用户126" initials="未" lastIdx="1" clrIdx="0"/>
  <p:cmAuthor id="479" name="未知用户127" initials="未" lastIdx="1" clrIdx="0"/>
  <p:cmAuthor id="480" name="未知用户128" initials="未" lastIdx="1" clrIdx="0"/>
  <p:cmAuthor id="481" name="未知用户129" initials="未" lastIdx="0" clrIdx="8"/>
  <p:cmAuthor id="482" name="未知用户130" initials="未" lastIdx="1" clrIdx="0"/>
  <p:cmAuthor id="483" name="未知用户131" initials="未" lastIdx="10" clrIdx="0"/>
  <p:cmAuthor id="484" name="未知用户132" initials="未" lastIdx="1" clrIdx="0"/>
  <p:cmAuthor id="485" name="未知用户133" initials="未" lastIdx="2" clrIdx="0"/>
  <p:cmAuthor id="486" name="未知用户134" initials="未" lastIdx="1" clrIdx="0"/>
  <p:cmAuthor id="487" name="未知用户135" initials="未" lastIdx="0" clrIdx="0"/>
  <p:cmAuthor id="488" name="未知用户136" initials="未" lastIdx="1" clrIdx="0"/>
  <p:cmAuthor id="489" name="未知用户137" initials="未" lastIdx="0" clrIdx="0"/>
  <p:cmAuthor id="491" name="USER" initials="U" lastIdx="0" clrIdx="0"/>
  <p:cmAuthor id="492" name="吴杰" initials="吴" lastIdx="1" clrIdx="0"/>
  <p:cmAuthor id="493" name="未知用户138" initials="未" lastIdx="7" clrIdx="0"/>
  <p:cmAuthor id="494" name="xikai gao" initials="x" lastIdx="1" clrIdx="37"/>
  <p:cmAuthor id="495" name="zhaozhihua-lhn" initials="z" lastIdx="1" clrIdx="0"/>
  <p:cmAuthor id="496" name="未知用户141" initials="未" lastIdx="0" clrIdx="0"/>
  <p:cmAuthor id="497" name="未知用户142" initials="未" lastIdx="0" clrIdx="1"/>
  <p:cmAuthor id="498" name="未知用户228" initials="未" lastIdx="2" clrIdx="0"/>
  <p:cmAuthor id="500" name="未知用户143" initials="未" lastIdx="1" clrIdx="0"/>
  <p:cmAuthor id="502" name="未知用户144" initials="未" lastIdx="1" clrIdx="0"/>
  <p:cmAuthor id="503" name="未知用户145" initials="未" lastIdx="2" clrIdx="0"/>
  <p:cmAuthor id="504" name="未知用户194" initials="未" lastIdx="11" clrIdx="0"/>
  <p:cmAuthor id="505" name="Sky.Wang" initials="" lastIdx="10" clrIdx="0"/>
  <p:cmAuthor id="506" name="李旭兰" initials="" lastIdx="1" clrIdx="0"/>
  <p:cmAuthor id="507" name="未知用户114" initials="未" lastIdx="1" clrIdx="0"/>
  <p:cmAuthor id="508" name="未知用户115" initials="未" lastIdx="0" clrIdx="1"/>
  <p:cmAuthor id="509" name="未知用户116" initials="未" lastIdx="1" clrIdx="0"/>
  <p:cmAuthor id="510" name="未知用户117" initials="未" lastIdx="0" clrIdx="0"/>
  <p:cmAuthor id="511" name="未知用户139" initials="未" lastIdx="0" clrIdx="0"/>
  <p:cmAuthor id="512" name="加 林" initials="加" lastIdx="1" clrIdx="0"/>
  <p:cmAuthor id="513" name="王 金谦" initials="王" lastIdx="2" clrIdx="21"/>
  <p:cmAuthor id="515" name="王 婧" initials="王" lastIdx="1" clrIdx="19"/>
  <p:cmAuthor id="516" name="未知用户197" initials="未" lastIdx="0" clrIdx="1"/>
  <p:cmAuthor id="517" name="王 一鸣" initials="王" lastIdx="1" clrIdx="0"/>
  <p:cmAuthor id="518" name="未知用户50" initials="未" lastIdx="1" clrIdx="0"/>
  <p:cmAuthor id="519" name="龚平-lcq" initials="龚" lastIdx="3" clrIdx="0"/>
  <p:cmAuthor id="520" name="Well Li" initials="W" lastIdx="1" clrIdx="0"/>
  <p:cmAuthor id="521" name="任俊宣" initials="任" lastIdx="1" clrIdx="6"/>
  <p:cmAuthor id="522" name="未知用户188" initials="未" lastIdx="1" clrIdx="0"/>
  <p:cmAuthor id="523" name="未知用户189" initials="未" lastIdx="1" clrIdx="0"/>
  <p:cmAuthor id="524" name="未知用户165" initials="未" lastIdx="1" clrIdx="0"/>
  <p:cmAuthor id="525" name="未知用户166" initials="未" lastIdx="1" clrIdx="0"/>
  <p:cmAuthor id="526" name="未知用户167" initials="未" lastIdx="1" clrIdx="0"/>
  <p:cmAuthor id="527" name="未知用户168" initials="未" lastIdx="0" clrIdx="8"/>
  <p:cmAuthor id="528" name="未知用户169" initials="未" lastIdx="1" clrIdx="0"/>
  <p:cmAuthor id="529" name="未知用户170" initials="未" lastIdx="10" clrIdx="0"/>
  <p:cmAuthor id="530" name="未知用户171" initials="未" lastIdx="1" clrIdx="0"/>
  <p:cmAuthor id="531" name="未知用户172" initials="未" lastIdx="2" clrIdx="0"/>
  <p:cmAuthor id="532" name="未知用户173" initials="未" lastIdx="1" clrIdx="0"/>
  <p:cmAuthor id="533" name="未知用户174" initials="未" lastIdx="0" clrIdx="0"/>
  <p:cmAuthor id="534" name="未知用户175" initials="未" lastIdx="1" clrIdx="0"/>
  <p:cmAuthor id="535" name="未知用户176" initials="未" lastIdx="0" clrIdx="0"/>
  <p:cmAuthor id="536" name="未知用户198" initials="未" lastIdx="0" clrIdx="0"/>
  <p:cmAuthor id="537" name="未知用户150" initials="未" lastIdx="1" clrIdx="0"/>
  <p:cmAuthor id="538" name="未知用户220" initials="未" lastIdx="1" clrIdx="0"/>
  <p:cmAuthor id="539" name="未知用户221" initials="未" lastIdx="1" clrIdx="0"/>
  <p:cmAuthor id="540" name="未知用户199" initials="未" lastIdx="0" clrIdx="1"/>
  <p:cmAuthor id="541" name="未知用户200" initials="未" lastIdx="2" clrIdx="0"/>
  <p:cmAuthor id="542" name="未知用户201" initials="未" lastIdx="11" clrIdx="1"/>
  <p:cmAuthor id="543" name="未知用户214" initials="未" lastIdx="1" clrIdx="0"/>
  <p:cmAuthor id="544" name="未知用户216" initials="未" lastIdx="1" clrIdx="0"/>
  <p:cmAuthor id="545" name="未知用户202" initials="未" lastIdx="2" clrIdx="0"/>
  <p:cmAuthor id="546" name="未知用户203" initials="未" lastIdx="15" clrIdx="0"/>
  <p:cmAuthor id="547" name="未知用户204" initials="未" lastIdx="1" clrIdx="0"/>
  <p:cmAuthor id="548" name="未知用户205" initials="未" lastIdx="7" clrIdx="0"/>
  <p:cmAuthor id="549" name="未知用户206" initials="未" lastIdx="1" clrIdx="0"/>
  <p:cmAuthor id="550" name="未知用户207" initials="未" lastIdx="1" clrIdx="0"/>
  <p:cmAuthor id="551" name="未知用户208" initials="未" lastIdx="1" clrIdx="0"/>
  <p:cmAuthor id="552" name="未知用户209" initials="未" lastIdx="2" clrIdx="0"/>
  <p:cmAuthor id="553" name="未知用户210" initials="未" lastIdx="0" clrIdx="0"/>
  <p:cmAuthor id="554" name="未知用户213" initials="未" lastIdx="1" clrIdx="2"/>
  <p:cmAuthor id="555" name="未知用户211" initials="未" lastIdx="1" clrIdx="0"/>
  <p:cmAuthor id="556" name="未知用户68" initials="未" lastIdx="1" clrIdx="0"/>
  <p:cmAuthor id="557" name="?定义" initials="?" lastIdx="2" clrIdx="0"/>
  <p:cmAuthor id="558" name="未知用户337" initials="未" lastIdx="0" clrIdx="0"/>
  <p:cmAuthor id="559" name="未知用户336" initials="未" lastIdx="1" clrIdx="0"/>
  <p:cmAuthor id="560" name="未知用户318" initials="未" lastIdx="1" clrIdx="1"/>
  <p:cmAuthor id="562" name="未知用户320" initials="未" lastIdx="3" clrIdx="0"/>
  <p:cmAuthor id="563" name="Picc" initials="" lastIdx="1" clrIdx="0"/>
  <p:cmAuthor id="564" name="未知用户322" initials="未" lastIdx="0" clrIdx="0"/>
  <p:cmAuthor id="565" name="未知用户323" initials="未" lastIdx="9" clrIdx="0"/>
  <p:cmAuthor id="566" name="未知用户287" initials="未" lastIdx="1" clrIdx="0"/>
  <p:cmAuthor id="567" name="未知用户324" initials="未" lastIdx="1" clrIdx="0"/>
  <p:cmAuthor id="568" name="未知用户325" initials="未" lastIdx="2" clrIdx="0"/>
  <p:cmAuthor id="569" name="未知用户290" initials="未" lastIdx="1" clrIdx="0"/>
  <p:cmAuthor id="570" name="未知用户291" initials="未" lastIdx="1" clrIdx="0"/>
  <p:cmAuthor id="571" name="未知用户292" initials="未" lastIdx="0" clrIdx="0"/>
  <p:cmAuthor id="572" name="未知用户293" initials="未" lastIdx="1" clrIdx="0"/>
  <p:cmAuthor id="573" name="未知用户294" initials="未" lastIdx="1" clrIdx="1"/>
  <p:cmAuthor id="574" name="未知用户295" initials="未" lastIdx="1" clrIdx="0"/>
  <p:cmAuthor id="575" name="未知用户326" initials="未" lastIdx="1" clrIdx="0"/>
  <p:cmAuthor id="576" name="未知用户327" initials="未" lastIdx="2" clrIdx="0"/>
  <p:cmAuthor id="577" name="未知用户328" initials="未" lastIdx="2" clrIdx="0"/>
  <p:cmAuthor id="578" name="未知用户299" initials="未" lastIdx="3" clrIdx="0"/>
  <p:cmAuthor id="579" name="未知用户300" initials="未" lastIdx="22" clrIdx="0"/>
  <p:cmAuthor id="580" name="未知用户301" initials="未" lastIdx="1" clrIdx="0"/>
  <p:cmAuthor id="581" name="未知用户302" initials="未" lastIdx="1" clrIdx="1"/>
  <p:cmAuthor id="582" name="未知用户303" initials="未" lastIdx="1" clrIdx="0"/>
  <p:cmAuthor id="583" name="未知用户304" initials="未" lastIdx="1" clrIdx="35"/>
  <p:cmAuthor id="584" name="未知用户305" initials="未" lastIdx="1" clrIdx="0"/>
  <p:cmAuthor id="585" name="未知用户306" initials="未" lastIdx="0" clrIdx="0"/>
  <p:cmAuthor id="586" name="未知用户222" initials="未" lastIdx="1" clrIdx="1"/>
  <p:cmAuthor id="587" name="未知用户224" initials="未" lastIdx="0" clrIdx="0"/>
  <p:cmAuthor id="588" name="未知用户332" initials="未" lastIdx="1" clrIdx="0"/>
  <p:cmAuthor id="589" name="未知用户309" initials="未" lastIdx="0" clrIdx="0"/>
  <p:cmAuthor id="590" name="未知用户310" initials="未" lastIdx="1" clrIdx="21"/>
  <p:cmAuthor id="591" name="未知用户311" initials="未" lastIdx="1" clrIdx="0"/>
  <p:cmAuthor id="592" name="未知用户312" initials="未" lastIdx="4" clrIdx="1"/>
  <p:cmAuthor id="593" name="未知用户313" initials="未" lastIdx="1" clrIdx="0"/>
  <p:cmAuthor id="594" name="未知用户335" initials="未" lastIdx="1" clrIdx="0"/>
  <p:cmAuthor id="595" name="未知用户316" initials="未" lastIdx="1" clrIdx="0"/>
  <p:cmAuthor id="596" name="未知用户277" initials="未" lastIdx="1" clrIdx="0"/>
  <p:cmAuthor id="597" name="未知用户278" initials="未" lastIdx="1" clrIdx="0"/>
  <p:cmAuthor id="598" name="未知用户272" initials="未" lastIdx="10" clrIdx="0"/>
  <p:cmAuthor id="599" name="未知用户273" initials="未" lastIdx="1" clrIdx="0"/>
  <p:cmAuthor id="600" name="未知用户279" initials="未" lastIdx="1" clrIdx="1"/>
  <p:cmAuthor id="601" name="未知用户233" initials="未" lastIdx="1" clrIdx="0"/>
  <p:cmAuthor id="602" name="未知用户229" initials="未" lastIdx="0" clrIdx="0"/>
  <p:cmAuthor id="603" name="未知用户234" initials="未" lastIdx="1" clrIdx="0"/>
  <p:cmAuthor id="604" name="未知用户274" initials="未" lastIdx="1" clrIdx="0"/>
  <p:cmAuthor id="605" name="未知用户236" initials="未" lastIdx="0" clrIdx="0"/>
  <p:cmAuthor id="606" name="未知用户280" initials="未" lastIdx="2" clrIdx="0"/>
  <p:cmAuthor id="607" name="未知用户238" initials="未" lastIdx="1" clrIdx="21"/>
  <p:cmAuthor id="608" name="未知用户239" initials="未" lastIdx="1" clrIdx="0"/>
  <p:cmAuthor id="609" name="未知用户240" initials="未" lastIdx="4" clrIdx="1"/>
  <p:cmAuthor id="610" name="未知用户241" initials="未" lastIdx="1" clrIdx="0"/>
  <p:cmAuthor id="611" name="未知用户242" initials="未" lastIdx="1" clrIdx="0"/>
  <p:cmAuthor id="612" name="未知用户243" initials="未" lastIdx="1" clrIdx="0"/>
  <p:cmAuthor id="613" name="未知用户244" initials="未" lastIdx="1" clrIdx="0"/>
  <p:cmAuthor id="614" name="未知用户245" initials="未" lastIdx="1" clrIdx="0"/>
  <p:cmAuthor id="615" name="未知用户246" initials="未" lastIdx="1" clrIdx="1"/>
  <p:cmAuthor id="616" name="未知用户247" initials="未" lastIdx="7" clrIdx="0"/>
  <p:cmAuthor id="617" name="未知用户248" initials="未" lastIdx="3" clrIdx="0"/>
  <p:cmAuthor id="618" name="未知用户249" initials="未" lastIdx="1" clrIdx="0"/>
  <p:cmAuthor id="619" name="未知用户250" initials="未" lastIdx="0" clrIdx="0"/>
  <p:cmAuthor id="620" name="未知用户251" initials="未" lastIdx="9" clrIdx="0"/>
  <p:cmAuthor id="621" name="未知用户252" initials="未" lastIdx="1" clrIdx="0"/>
  <p:cmAuthor id="622" name="未知用户253" initials="未" lastIdx="1" clrIdx="0"/>
  <p:cmAuthor id="623" name="未知用户254" initials="未" lastIdx="2" clrIdx="0"/>
  <p:cmAuthor id="624" name="未知用户255" initials="未" lastIdx="1" clrIdx="0"/>
  <p:cmAuthor id="625" name="未知用户256" initials="未" lastIdx="1" clrIdx="0"/>
  <p:cmAuthor id="626" name="未知用户257" initials="未" lastIdx="0" clrIdx="0"/>
  <p:cmAuthor id="627" name="未知用户258" initials="未" lastIdx="1" clrIdx="0"/>
  <p:cmAuthor id="628" name="未知用户259" initials="未" lastIdx="1" clrIdx="1"/>
  <p:cmAuthor id="629" name="未知用户260" initials="未" lastIdx="1" clrIdx="0"/>
  <p:cmAuthor id="630" name="未知用户275" initials="未" lastIdx="1" clrIdx="0"/>
  <p:cmAuthor id="631" name="未知用户276" initials="未" lastIdx="2" clrIdx="0"/>
  <p:cmAuthor id="632" name="未知用户263" initials="未" lastIdx="2" clrIdx="0"/>
  <p:cmAuthor id="633" name="未知用户264" initials="未" lastIdx="3" clrIdx="0"/>
  <p:cmAuthor id="634" name="未知用户265" initials="未" lastIdx="22" clrIdx="0"/>
  <p:cmAuthor id="635" name="未知用户266" initials="未" lastIdx="1" clrIdx="1"/>
  <p:cmAuthor id="636" name="未知用户267" initials="未" lastIdx="1" clrIdx="0"/>
  <p:cmAuthor id="637" name="未知用户268" initials="未" lastIdx="1" clrIdx="35"/>
  <p:cmAuthor id="638" name="未知用户269" initials="未" lastIdx="1" clrIdx="0"/>
  <p:cmAuthor id="639" name="未知用户270" initials="未" lastIdx="0" clrIdx="0"/>
  <p:cmAuthor id="640" name="未知用户193" initials="未" lastIdx="2" clrIdx="0"/>
  <p:cmAuthor id="641" name="未知用户195" initials="未" lastIdx="22" clrIdx="0"/>
  <p:cmAuthor id="642" name="未知用户196" initials="未" lastIdx="1" clrIdx="0"/>
  <p:cmAuthor id="643" name="未知用户358" initials="未" lastIdx="1" clrIdx="0"/>
  <p:cmAuthor id="644" name="未知用户359" initials="未" lastIdx="1" clrIdx="0"/>
  <p:cmAuthor id="645" name="未知用户360" initials="未" lastIdx="10" clrIdx="0"/>
  <p:cmAuthor id="646" name="未知用户361" initials="未" lastIdx="1" clrIdx="0"/>
  <p:cmAuthor id="647" name="未知用户364" initials="未" lastIdx="2" clrIdx="0"/>
  <p:cmAuthor id="648" name="未知用户288" initials="未" lastIdx="1" clrIdx="0"/>
  <p:cmAuthor id="649" name="未知用户297" initials="未" lastIdx="1" clrIdx="0"/>
  <p:cmAuthor id="650" name="未知用户298" initials="未" lastIdx="1" clrIdx="1"/>
  <p:cmAuthor id="651" name="未知用户307" initials="未" lastIdx="7" clrIdx="0"/>
  <p:cmAuthor id="652" name="未知用户308" initials="未" lastIdx="3" clrIdx="0"/>
  <p:cmAuthor id="653" name="未知用户315" initials="未" lastIdx="1" clrIdx="0"/>
  <p:cmAuthor id="654" name="未知用户317" initials="未" lastIdx="0" clrIdx="0"/>
  <p:cmAuthor id="655" name="未知用户329" initials="未" lastIdx="9" clrIdx="0"/>
  <p:cmAuthor id="656" name="未知用户333" initials="未" lastIdx="1" clrIdx="0"/>
  <p:cmAuthor id="657" name="未知用户334" initials="未" lastIdx="1" clrIdx="0"/>
  <p:cmAuthor id="49837067" name="刘浩" initials="刘" lastIdx="180431" clrIdx="0"/>
  <p:cmAuthor id="658" name="未知用户340" initials="未" lastIdx="2" clrIdx="0"/>
  <p:cmAuthor id="49837068" name="Vivian Liu" initials="VL" lastIdx="1" clrIdx="1"/>
  <p:cmAuthor id="659" name="未知用户341" initials="未" lastIdx="1" clrIdx="0"/>
  <p:cmAuthor id="49837069" name="liu tingting" initials="lt" lastIdx="1" clrIdx="137"/>
  <p:cmAuthor id="660" name="未知用户342" initials="未" lastIdx="1" clrIdx="0"/>
  <p:cmAuthor id="49837070" name="zhang li" initials="zl" lastIdx="1" clrIdx="138"/>
  <p:cmAuthor id="661" name="未知用户343" initials="未" lastIdx="0" clrIdx="0"/>
  <p:cmAuthor id="49837071" name="邹 伟栋" initials="邹" lastIdx="1" clrIdx="207"/>
  <p:cmAuthor id="662" name="未知用户344" initials="未" lastIdx="1" clrIdx="0"/>
  <p:cmAuthor id="49837072" name="Laptop Go" initials="L" lastIdx="2" clrIdx="208"/>
  <p:cmAuthor id="663" name="未知用户345" initials="未" lastIdx="1" clrIdx="1"/>
  <p:cmAuthor id="49837073" name="sk" initials="s" lastIdx="1" clrIdx="735"/>
  <p:cmAuthor id="664" name="未知用户365" initials="未" lastIdx="1" clrIdx="0"/>
  <p:cmAuthor id="49837074" name="余森" initials="余森" lastIdx="1" clrIdx="449"/>
  <p:cmAuthor id="665" name="未知用户366" initials="未" lastIdx="1" clrIdx="0"/>
  <p:cmAuthor id="49837075" name="孙 鹏" initials="孙" lastIdx="1" clrIdx="746"/>
  <p:cmAuthor id="666" name="未知用户367" initials="未" lastIdx="2" clrIdx="0"/>
  <p:cmAuthor id="49837076" name="肖琼" initials="肖琼" lastIdx="1" clrIdx="453"/>
  <p:cmAuthor id="667" name="未知用户368" initials="未" lastIdx="2" clrIdx="0"/>
  <p:cmAuthor id="668" name="未知用户403" initials="未" lastIdx="1" clrIdx="0"/>
  <p:cmAuthor id="669" name="未知用户402" initials="未" lastIdx="1" clrIdx="0"/>
  <p:cmAuthor id="670" name="未知用户379" initials="未" lastIdx="10" clrIdx="0"/>
  <p:cmAuthor id="671" name="未知用户380" initials="未" lastIdx="1" clrIdx="0"/>
  <p:cmAuthor id="672" name="未知用户405" initials="未" lastIdx="2" clrIdx="0"/>
  <p:cmAuthor id="673" name="未知用户382" initials="未" lastIdx="1" clrIdx="0"/>
  <p:cmAuthor id="674" name="未知用户383" initials="未" lastIdx="1" clrIdx="0"/>
  <p:cmAuthor id="675" name="未知用户384" initials="未" lastIdx="1" clrIdx="1"/>
  <p:cmAuthor id="676" name="未知用户385" initials="未" lastIdx="7" clrIdx="0"/>
  <p:cmAuthor id="677" name="未知用户386" initials="未" lastIdx="3" clrIdx="0"/>
  <p:cmAuthor id="678" name="未知用户387" initials="未" lastIdx="1" clrIdx="0"/>
  <p:cmAuthor id="679" name="未知用户388" initials="未" lastIdx="0" clrIdx="0"/>
  <p:cmAuthor id="680" name="未知用户411" initials="未" lastIdx="1" clrIdx="0"/>
  <p:cmAuthor id="681" name="未知用户389" initials="未" lastIdx="9" clrIdx="0"/>
  <p:cmAuthor id="682" name="未知用户390" initials="未" lastIdx="1" clrIdx="0"/>
  <p:cmAuthor id="683" name="未知用户391" initials="未" lastIdx="1" clrIdx="0"/>
  <p:cmAuthor id="684" name="未知用户392" initials="未" lastIdx="2" clrIdx="0"/>
  <p:cmAuthor id="685" name="未知用户393" initials="未" lastIdx="1" clrIdx="0"/>
  <p:cmAuthor id="686" name="未知用户394" initials="未" lastIdx="1" clrIdx="0"/>
  <p:cmAuthor id="687" name="未知用户395" initials="未" lastIdx="0" clrIdx="0"/>
  <p:cmAuthor id="688" name="未知用户396" initials="未" lastIdx="1" clrIdx="0"/>
  <p:cmAuthor id="689" name="未知用户406" initials="未" lastIdx="1" clrIdx="0"/>
  <p:cmAuthor id="690" name="未知用户397" initials="未" lastIdx="1" clrIdx="1"/>
  <p:cmAuthor id="691" name="未知用户407" initials="未" lastIdx="1" clrIdx="0"/>
  <p:cmAuthor id="692" name="未知用户398" initials="未" lastIdx="1" clrIdx="0"/>
  <p:cmAuthor id="693" name="未知用户399" initials="未" lastIdx="1" clrIdx="0"/>
  <p:cmAuthor id="694" name="未知用户400" initials="未" lastIdx="2" clrIdx="0"/>
  <p:cmAuthor id="695" name="未知用户401" initials="未" lastIdx="2" clrIdx="0"/>
  <p:cmAuthor id="696" name="未知用户420" initials="未" lastIdx="1" clrIdx="0"/>
  <p:cmAuthor id="697" name="未知用户421" initials="未" lastIdx="1" clrIdx="0"/>
  <p:cmAuthor id="698" name="未知用户422" initials="未" lastIdx="10" clrIdx="0"/>
  <p:cmAuthor id="699" name="未知用户423" initials="未" lastIdx="1" clrIdx="0"/>
  <p:cmAuthor id="700" name="未知用户424" initials="未" lastIdx="2" clrIdx="0"/>
  <p:cmAuthor id="701" name="未知用户419" initials="未" lastIdx="2" clrIdx="0"/>
  <p:cmAuthor id="702" name="未知用户425" initials="未" lastIdx="1" clrIdx="0"/>
  <p:cmAuthor id="703" name="未知用户426" initials="未" lastIdx="1" clrIdx="0"/>
  <p:cmAuthor id="704" name="未知用户427" initials="未" lastIdx="1" clrIdx="1"/>
  <p:cmAuthor id="705" name="未知用户428" initials="未" lastIdx="7" clrIdx="0"/>
  <p:cmAuthor id="706" name="未知用户429" initials="未" lastIdx="3" clrIdx="0"/>
  <p:cmAuthor id="707" name="未知用户430" initials="未" lastIdx="1" clrIdx="0"/>
  <p:cmAuthor id="708" name="未知用户431" initials="未" lastIdx="1" clrIdx="0"/>
  <p:cmAuthor id="709" name="未知用户432" initials="未" lastIdx="0" clrIdx="0"/>
  <p:cmAuthor id="710" name="未知用户433" initials="未" lastIdx="1" clrIdx="0"/>
  <p:cmAuthor id="711" name="未知用户434" initials="未" lastIdx="9" clrIdx="0"/>
  <p:cmAuthor id="712" name="未知用户435" initials="未" lastIdx="1" clrIdx="0"/>
  <p:cmAuthor id="713" name="未知用户436" initials="未" lastIdx="1" clrIdx="0"/>
  <p:cmAuthor id="714" name="未知用户437" initials="未" lastIdx="2" clrIdx="0"/>
  <p:cmAuthor id="715" name="未知用户438" initials="未" lastIdx="1" clrIdx="0"/>
  <p:cmAuthor id="716" name="未知用户417" initials="未" lastIdx="10" clrIdx="0"/>
  <p:cmAuthor id="717" name="未知用户439" initials="未" lastIdx="1" clrIdx="0"/>
  <p:cmAuthor id="718" name="未知用户440" initials="未" lastIdx="0" clrIdx="0"/>
  <p:cmAuthor id="719" name="未知用户441" initials="未" lastIdx="1" clrIdx="0"/>
  <p:cmAuthor id="720" name="未知用户442" initials="未" lastIdx="1" clrIdx="0"/>
  <p:cmAuthor id="721" name="未知用户443" initials="未" lastIdx="1" clrIdx="1"/>
  <p:cmAuthor id="722" name="未知用户444" initials="未" lastIdx="2" clrIdx="0"/>
  <p:cmAuthor id="723" name="未知用户445" initials="未" lastIdx="1" clrIdx="0"/>
  <p:cmAuthor id="724" name="未知用户446" initials="未" lastIdx="1" clrIdx="0"/>
  <p:cmAuthor id="725" name="未知用户447" initials="未" lastIdx="2" clrIdx="0"/>
  <p:cmAuthor id="726" name="未知用户448" initials="未" lastIdx="2" clrIdx="0"/>
  <p:cmAuthor id="727" name="郭成报" initials="郭" lastIdx="1" clrIdx="726"/>
  <p:cmAuthor id="728" name="不灰心骑士" initials="不" lastIdx="1" clrIdx="0"/>
  <p:cmAuthor id="729" name="tkadmin" initials="t" lastIdx="1" clrIdx="455"/>
  <p:cmAuthor id="731" name="崔艳鹏" initials="崔" lastIdx="1" clrIdx="730"/>
  <p:cmAuthor id="732" name="You Zhou" initials="Y" lastIdx="1" clrIdx="95"/>
  <p:cmAuthor id="733" name="张 美红" initials="张" lastIdx="1" clrIdx="120"/>
  <p:cmAuthor id="734" name="8613607323127" initials="8" lastIdx="1" clrIdx="196"/>
  <p:cmAuthor id="735" name="sufeng02" initials="s" lastIdx="1" clrIdx="737"/>
  <p:cmAuthor id="736" name="zhouyangfan" initials="z" lastIdx="0" clrIdx="0"/>
  <p:cmAuthor id="738" name="郄 琰" initials="郄" lastIdx="1" clrIdx="0"/>
  <p:cmAuthor id="740" name="未知用户3" initials="未" lastIdx="0" clrIdx="0"/>
  <p:cmAuthor id="741" name="wfbs" initials="w" lastIdx="1" clrIdx="734"/>
  <p:cmAuthor id="742" name="未知用户319" initials="未" lastIdx="7" clrIdx="0"/>
  <p:cmAuthor id="743" name="hainan zheng" initials="h" lastIdx="1" clrIdx="0"/>
  <p:cmAuthor id="744" name="廖爽亚" initials="廖" lastIdx="4" clrIdx="2"/>
  <p:cmAuthor id="745" name="zilong.li" initials="z" lastIdx="4" clrIdx="0"/>
  <p:cmAuthor id="746" name="James Conard" initials="J" lastIdx="3" clrIdx="0"/>
  <p:cmAuthor id="747" name="wenle369@sina.com" initials="w" lastIdx="1" clrIdx="0"/>
  <p:cmAuthor id="748" name="殷 积波" initials="殷" lastIdx="1" clrIdx="22"/>
  <p:cmAuthor id="749" name="启浩" initials="启" lastIdx="2" clrIdx="0"/>
  <p:cmAuthor id="750" name="袨?嗴?傤?" initials="袨" lastIdx="0" clrIdx="0"/>
  <p:cmAuthor id="751" name="林玲 郑" initials="林" lastIdx="12" clrIdx="0"/>
  <p:cmAuthor id="752" name="554154816@qq.com" initials="5" lastIdx="0" clrIdx="0"/>
  <p:cmAuthor id="753" name="未知用户192" initials="未" lastIdx="1" clrIdx="0"/>
  <p:cmAuthor id="754" name="志刚 赵" initials="志" lastIdx="1" clrIdx="0"/>
  <p:cmAuthor id="755" name="未知用户418" initials="未" lastIdx="1" clrIdx="0"/>
  <p:cmAuthor id="756" name="未知用户271" initials="未" lastIdx="1" clrIdx="0"/>
  <p:cmAuthor id="758" name="赵博洋(L. D.)" initials="赵" lastIdx="1" clrIdx="2"/>
  <p:cmAuthor id="759" name="张逸晨" initials="张" lastIdx="1" clrIdx="0"/>
  <p:cmAuthor id="760" name="sizx" initials="s" lastIdx="2" clrIdx="759"/>
  <p:cmAuthor id="761" name="雨林木风" initials="雨" lastIdx="14" clrIdx="1"/>
  <p:cmAuthor id="762" name="张洁01-lhq" initials="张" lastIdx="3" clrIdx="0"/>
  <p:cmAuthor id="763" name="池依曼" initials="池" lastIdx="2" clrIdx="72"/>
  <p:cmAuthor id="764" name="未知用户219" initials="未" lastIdx="3" clrIdx="0"/>
  <p:cmAuthor id="765" name="未知用户230" initials="未" lastIdx="2" clrIdx="0"/>
  <p:cmAuthor id="766" name="未知用户231" initials="未" lastIdx="1" clrIdx="0"/>
  <p:cmAuthor id="767" name="未知用户232" initials="未" lastIdx="1" clrIdx="0"/>
  <p:cmAuthor id="768" name="未知用户237" initials="未" lastIdx="7" clrIdx="0"/>
  <p:cmAuthor id="769" name="未知用户226" initials="未" lastIdx="1" clrIdx="0"/>
  <p:cmAuthor id="770" name="亚运 曹" initials="亚" lastIdx="3" clrIdx="2"/>
  <p:cmAuthor id="771" name="39538" initials="3" lastIdx="1" clrIdx="770"/>
  <p:cmAuthor id="772" name="张正明" initials="张" lastIdx="1" clrIdx="0"/>
  <p:cmAuthor id="773" name="FANG SUN" initials="F" lastIdx="2" clrIdx="4"/>
  <p:cmAuthor id="774" name="富德生命人寿" initials="富" lastIdx="1" clrIdx="0"/>
  <p:cmAuthor id="776" name="未知用户416" initials="未" lastIdx="1" clrIdx="0"/>
  <p:cmAuthor id="777" name="未知用户404" initials="未" lastIdx="15" clrIdx="0"/>
  <p:cmAuthor id="778" name="未知用户408" initials="未" lastIdx="1" clrIdx="1"/>
  <p:cmAuthor id="779" name="未知用户409" initials="未" lastIdx="7" clrIdx="0"/>
  <p:cmAuthor id="780" name="未知用户412" initials="未" lastIdx="0" clrIdx="1"/>
  <p:cmAuthor id="781" name="未知用户413" initials="未" lastIdx="1" clrIdx="0"/>
  <p:cmAuthor id="782" name="未知用户414" initials="未" lastIdx="1" clrIdx="0"/>
  <p:cmAuthor id="783" name="未知用户415" initials="未" lastIdx="1" clrIdx="0"/>
  <p:cmAuthor id="784" name="未知用户215" initials="未" lastIdx="0" clrIdx="0"/>
  <p:cmAuthor id="785" name="未知用户217" initials="未" lastIdx="0" clrIdx="0"/>
  <p:cmAuthor id="786" name="未知用户261" initials="未" lastIdx="0" clrIdx="0"/>
  <p:cmAuthor id="787" name="未知用户371" initials="未" lastIdx="1" clrIdx="0"/>
  <p:cmAuthor id="788" name="未知用户370" initials="未" lastIdx="1" clrIdx="0"/>
  <p:cmAuthor id="789" name="未知用户347" initials="未" lastIdx="10" clrIdx="0"/>
  <p:cmAuthor id="790" name="未知用户348" initials="未" lastIdx="1" clrIdx="0"/>
  <p:cmAuthor id="791" name="未知用户286" initials="未" lastIdx="1" clrIdx="0"/>
  <p:cmAuthor id="792" name="未知用户373" initials="未" lastIdx="2" clrIdx="0"/>
  <p:cmAuthor id="793" name="未知用户350" initials="未" lastIdx="1" clrIdx="0"/>
  <p:cmAuthor id="794" name="未知用户218" initials="未" lastIdx="0" clrIdx="0"/>
  <p:cmAuthor id="795" name="未知用户351" initials="未" lastIdx="1" clrIdx="0"/>
  <p:cmAuthor id="796" name="未知用户352" initials="未" lastIdx="1" clrIdx="1"/>
  <p:cmAuthor id="5" name="LUOJIAXIN365" initials="L" lastIdx="1" clrIdx="4"/>
  <p:cmAuthor id="2003" name="WUQINGSONG542" initials="W" lastIdx="1" clrIdx="286"/>
  <p:cmAuthor id="2004" name="尹 姣姣" initials="尹" lastIdx="1" clrIdx="2"/>
  <p:cmAuthor id="191251535" name="沈霄雷" initials="沈" lastIdx="833089" clrIdx="0"/>
  <p:cmAuthor id="191251536" name="SF" initials="S" lastIdx="6" clrIdx="11"/>
  <p:cmAuthor id="191251537" name="sammi" initials="s" lastIdx="0" clrIdx="12"/>
  <p:cmAuthor id="2005" name="ZHANGZHENTAO378" initials="Z" lastIdx="1" clrIdx="2004"/>
  <p:cmAuthor id="191251538" name="CHENFANG479" initials="C" lastIdx="2" clrIdx="191251537"/>
  <p:cmAuthor id="2006" name="wanpeiran653" initials="w" lastIdx="2" clrIdx="2005"/>
  <p:cmAuthor id="1019" name="wangsuyu" initials="w" lastIdx="1" clrIdx="1018"/>
  <p:cmAuthor id="1020" name="TK" initials="T" lastIdx="1" clrIdx="1019"/>
  <p:cmAuthor id="1021" name="AAA" initials="A" lastIdx="1" clrIdx="1020"/>
  <p:cmAuthor id="1022" name="qdrenyx" initials="q" lastIdx="1" clrIdx="1021"/>
  <p:cmAuthor id="1023" name="李 玉飞" initials="李" lastIdx="9" clrIdx="0"/>
  <p:cmAuthor id="1024" name="sunyi" initials="s" lastIdx="1" clrIdx="223"/>
  <p:cmAuthor id="1025" name="A1832" initials="A" lastIdx="1" clrIdx="196"/>
  <p:cmAuthor id="1026" name="lizhuo07" initials="l" lastIdx="1" clrIdx="1012"/>
  <p:cmAuthor id="1028" name="朱光耀" initials="朱" lastIdx="1" clrIdx="436"/>
  <p:cmAuthor id="1029" name="王 平坚" initials="王" lastIdx="1" clrIdx="0"/>
  <p:cmAuthor id="1030" name="Wang Sisi" initials="W" lastIdx="2" clrIdx="0"/>
  <p:cmAuthor id="1031" name="lijh145" initials="l" lastIdx="1" clrIdx="1030"/>
  <p:cmAuthor id="1034" name="chenrong33" initials="c" lastIdx="1" clrIdx="1033"/>
  <p:cmAuthor id="1036" name="wangzhe52" initials="w" lastIdx="4" clrIdx="1035"/>
  <p:cmAuthor id="1039" name="鲁守吉" initials="鲁" lastIdx="1" clrIdx="726"/>
  <p:cmAuthor id="1040" name="金海燕" initials="金" lastIdx="1" clrIdx="446"/>
  <p:cmAuthor id="1041" name="SDTAGX008" initials="S" lastIdx="1" clrIdx="734"/>
  <p:cmAuthor id="1045" name="Zhang, Teresa-Y" initials="Z" lastIdx="23" clrIdx="0"/>
  <p:cmAuthor id="1046" name="沈奂" initials="沈奂" lastIdx="1" clrIdx="1045"/>
  <p:cmAuthor id="1051" name="wangjly" initials="w" lastIdx="1" clrIdx="1043"/>
  <p:cmAuthor id="1052" name="Modle" initials="M" lastIdx="1" clrIdx="0"/>
  <p:cmAuthor id="1054" name="karen" initials="k" lastIdx="1" clrIdx="27"/>
  <p:cmAuthor id="1058" name="77192" initials="7" lastIdx="1" clrIdx="149"/>
  <p:cmAuthor id="1060" name="qhb" initials="q" lastIdx="1" clrIdx="153"/>
  <p:cmAuthor id="1061" name="甘 露" initials="甘" lastIdx="5" clrIdx="111"/>
  <p:cmAuthor id="1062" name="大勇哥" initials="大" lastIdx="1" clrIdx="223"/>
  <p:cmAuthor id="1063" name="窦隆玲" initials="窦" lastIdx="2" clrIdx="745"/>
  <p:cmAuthor id="1064" name="one" initials="o" lastIdx="1" clrIdx="422"/>
  <p:cmAuthor id="1066" name="万 江波" initials="万" lastIdx="1" clrIdx="0"/>
  <p:cmAuthor id="1068" name="l" initials="l" lastIdx="1" clrIdx="93"/>
  <p:cmAuthor id="1070" name="liulan" initials="l" lastIdx="7" clrIdx="22"/>
  <p:cmAuthor id="1071" name="史 喜英" initials="史" lastIdx="6" clrIdx="728"/>
  <p:cmAuthor id="1072" name="MY" initials="M" lastIdx="1" clrIdx="753"/>
  <p:cmAuthor id="1073" name="杜 洋" initials="杜" lastIdx="5" clrIdx="5"/>
  <p:cmAuthor id="1074" name="372674247@qq.com" initials="3" lastIdx="2" clrIdx="22"/>
  <p:cmAuthor id="1075" name="张娟" initials="张" lastIdx="1" clrIdx="93"/>
  <p:cmAuthor id="1076" name="天元" initials="天" lastIdx="1" clrIdx="224"/>
  <p:cmAuthor id="1079" name="JS-NT-HA" initials="J" lastIdx="1" clrIdx="744"/>
  <p:cmAuthor id="1080" name="李岩" initials="李" lastIdx="4" clrIdx="0"/>
  <p:cmAuthor id="1084" name="tcymr" initials="t" lastIdx="1" clrIdx="126"/>
  <p:cmAuthor id="1086" name="miao zhang" initials="m" lastIdx="1" clrIdx="22"/>
  <p:cmAuthor id="1087" name="郭文侠" initials="郭" lastIdx="1" clrIdx="225"/>
  <p:cmAuthor id="1088" name="阳 焦" initials="阳" lastIdx="1" clrIdx="0"/>
  <p:cmAuthor id="1090" name="续晓婧" initials="续" lastIdx="2" clrIdx="0"/>
  <p:cmAuthor id="1092" name="崔阳阳" initials="崔" lastIdx="1" clrIdx="453"/>
  <p:cmAuthor id="1093" name="Lee Melo" initials="L" lastIdx="1" clrIdx="0"/>
  <p:cmAuthor id="1095" name="运营" initials="运" lastIdx="1" clrIdx="101"/>
  <p:cmAuthor id="1096" name="13954" initials="1" lastIdx="1" clrIdx="228"/>
  <p:cmAuthor id="1097" name="徐晓丽" initials="徐" lastIdx="1" clrIdx="23"/>
  <p:cmAuthor id="1099" name="戴方方" initials="戴" lastIdx="3" clrIdx="0"/>
  <p:cmAuthor id="1100" name="陈 明东" initials="陈" lastIdx="1" clrIdx="0"/>
  <p:cmAuthor id="1101" name="office user" initials="o" lastIdx="1" clrIdx="2"/>
  <p:cmAuthor id="1103" name="office365" initials="o" lastIdx="1" clrIdx="22"/>
  <p:cmAuthor id="1105" name="甄 建文" initials="甄" lastIdx="4" clrIdx="24"/>
  <p:cmAuthor id="1107" name="章梦滢" initials="章" lastIdx="5" clrIdx="0"/>
  <p:cmAuthor id="1109" name="57867" initials="5" lastIdx="1" clrIdx="95"/>
  <p:cmAuthor id="1112" name="Chris French" initials="C" lastIdx="68" clrIdx="4"/>
  <p:cmAuthor id="1115" name="Melissa" initials="M" lastIdx="1" clrIdx="239"/>
  <p:cmAuthor id="1116" name="tcymr@163.com" initials="t" lastIdx="0" clrIdx="2"/>
  <p:cmAuthor id="1118" name="韦三省" initials="韦" lastIdx="1" clrIdx="0"/>
  <p:cmAuthor id="1119" name="congxuesong" initials="c" lastIdx="4" clrIdx="1"/>
  <p:cmAuthor id="1122" name="18043170808" initials="1" lastIdx="1" clrIdx="135"/>
  <p:cmAuthor id="1123" name="陈冰靓" initials="陈" lastIdx="1" clrIdx="1"/>
  <p:cmAuthor id="1126" name="SD-YT-YB" initials="S" lastIdx="1" clrIdx="129"/>
  <p:cmAuthor id="1128" name="chen xiaoling" initials="c" lastIdx="1" clrIdx="36"/>
  <p:cmAuthor id="1129" name="叶 俊锋" initials="叶" lastIdx="0" clrIdx="4"/>
  <p:cmAuthor id="1130" name="YANGCHENG" initials="Y" lastIdx="1" clrIdx="0"/>
  <p:cmAuthor id="1133" name="why" initials="w" lastIdx="2" clrIdx="32"/>
  <p:cmAuthor id="1135" name="tpxiao" initials="t" lastIdx="1" clrIdx="0"/>
  <p:cmAuthor id="1136" name="wuyizhe" initials="w" lastIdx="0" clrIdx="0"/>
  <p:cmAuthor id="1137" name="zhoujw08" initials="z" lastIdx="1" clrIdx="201"/>
  <p:cmAuthor id="1138" name="huangxiaowu" initials="h" lastIdx="2" clrIdx="241"/>
  <p:cmAuthor id="1147" name="li chen" initials="l" lastIdx="1" clrIdx="34"/>
  <p:cmAuthor id="1148" name="黄 佳昕" initials="黄" lastIdx="1" clrIdx="120"/>
  <p:cmAuthor id="1149" name="康玮华" initials="康" lastIdx="1" clrIdx="0"/>
  <p:cmAuthor id="1151" name="马琛琛" initials="马" lastIdx="1" clrIdx="0"/>
  <p:cmAuthor id="1153" name="hee-lhb" initials="h" lastIdx="1" clrIdx="0"/>
  <p:cmAuthor id="1155" name="楚汉公司企划部" initials="楚" lastIdx="1" clrIdx="884"/>
  <p:cmAuthor id="1162" name="李 惠" initials="李" lastIdx="1" clrIdx="0"/>
  <p:cmAuthor id="1163" name="吴 育明" initials="吴" lastIdx="3" clrIdx="0"/>
  <p:cmAuthor id="1167" name="19140" initials="1" lastIdx="2" clrIdx="0"/>
  <p:cmAuthor id="1168" name="刘沐妍" initials="刘" lastIdx="4" clrIdx="1"/>
  <p:cmAuthor id="1179" name="杨 晓彤" initials="杨" lastIdx="1" clrIdx="0"/>
  <p:cmAuthor id="1181" name="姜伟齐" initials="姜" lastIdx="1" clrIdx="0"/>
  <p:cmAuthor id="1182" name="陈虹" initials="陈" lastIdx="1" clrIdx="93"/>
  <p:cmAuthor id="1191" name="Deng weihua" initials="D" lastIdx="1" clrIdx="21"/>
  <p:cmAuthor id="1192" name="邹维敏" initials="邹" lastIdx="1" clrIdx="91"/>
  <p:cmAuthor id="1193" name="Dlj0533" initials="D" lastIdx="1" clrIdx="96"/>
  <p:cmAuthor id="1197" name="wanghongmei" initials="w" lastIdx="2" clrIdx="0"/>
  <p:cmAuthor id="1199" name="王 宣" initials="王" lastIdx="1" clrIdx="2"/>
  <p:cmAuthor id="1200" name="杨淑淇❀" initials="杨" lastIdx="1" clrIdx="93"/>
  <p:cmAuthor id="1203" name="朱云" initials="朱" lastIdx="1" clrIdx="141"/>
  <p:cmAuthor id="1206" name="yunshengjun" initials="y" lastIdx="1" clrIdx="248"/>
  <p:cmAuthor id="1208" name="IdeaNova-manager" initials="I" lastIdx="1" clrIdx="0"/>
  <p:cmAuthor id="1209" name="konglu2012@126.com" initials="k" lastIdx="1" clrIdx="0"/>
  <p:cmAuthor id="1211" name="王潇" initials="王" lastIdx="1" clrIdx="426"/>
  <p:cmAuthor id="1213" name="Linjing" initials="L" lastIdx="2" clrIdx="95"/>
  <p:cmAuthor id="1216" name="韩蕴智" initials="韩" lastIdx="1" clrIdx="434"/>
  <p:cmAuthor id="1217" name="liushiyuan" initials="l" lastIdx="2" clrIdx="445"/>
  <p:cmAuthor id="1218" name="张玮" initials="张" lastIdx="1" clrIdx="438"/>
  <p:cmAuthor id="1219" name="PXB" initials="P" lastIdx="1" clrIdx="453"/>
  <p:cmAuthor id="1220" name="TPL-1803-310253" initials="T" lastIdx="2" clrIdx="436"/>
  <p:cmAuthor id="1223" name="Disuzz" initials="D" lastIdx="2" clrIdx="189"/>
  <p:cmAuthor id="1226" name="Keve" initials="K" lastIdx="1" clrIdx="95"/>
  <p:cmAuthor id="1227" name="陆 先生" initials="陆" lastIdx="1" clrIdx="93"/>
  <p:cmAuthor id="1228" name="未知用户62" initials="未" lastIdx="1" clrIdx="0"/>
  <p:cmAuthor id="1316121249" name="NINGMEI" initials="N" lastIdx="1" clrIdx="878"/>
  <p:cmAuthor id="1316121250" name="连 浩" initials="连" lastIdx="1" clrIdx="915"/>
  <p:cmAuthor id="1231" name="SC-CD-YX3B-备用HP1" initials="S" lastIdx="1" clrIdx="439"/>
  <p:cmAuthor id="1316121251" name="abc" initials="a" lastIdx="1" clrIdx="954"/>
  <p:cmAuthor id="1316121252" name="乾坤 赵" initials="乾赵" lastIdx="1" clrIdx="1005"/>
  <p:cmAuthor id="1232" name="紫藤无语" initials="紫" lastIdx="1" clrIdx="440"/>
  <p:cmAuthor id="1234" name="赵云" initials="赵" lastIdx="8" clrIdx="0"/>
  <p:cmAuthor id="1235" name="wdl" initials="w" lastIdx="1" clrIdx="221"/>
  <p:cmAuthor id="1237" name="L T" initials="L" lastIdx="2" clrIdx="0"/>
  <p:cmAuthor id="1238" name="吴囧囧" initials="吴" lastIdx="1" clrIdx="25"/>
  <p:cmAuthor id="1242" name="he836" initials="h" lastIdx="1" clrIdx="106"/>
  <p:cmAuthor id="1243" name="weilong yan" initials="w" lastIdx="1" clrIdx="22"/>
  <p:cmAuthor id="1246" name="៰ݰ" initials="៰" lastIdx="0" clrIdx="0"/>
  <p:cmAuthor id="1247" name="王 楠" initials="王" lastIdx="1" clrIdx="728"/>
  <p:cmAuthor id="1248" name="陈中桃" initials="陈" lastIdx="1" clrIdx="463"/>
  <p:cmAuthor id="1251" name="liang ge" initials="l" lastIdx="1" clrIdx="3"/>
  <p:cmAuthor id="1252" name="sx_xuzx" initials="s" lastIdx="26" clrIdx="17"/>
  <p:cmAuthor id="1253" name="孟 昕" initials="孟" lastIdx="1" clrIdx="18"/>
  <p:cmAuthor id="1257" name="surface" initials="s" lastIdx="1" clrIdx="734"/>
  <p:cmAuthor id="1262" name="yyb" initials="y" lastIdx="1" clrIdx="998"/>
  <p:cmAuthor id="1271" name="wanghui25" initials="w" lastIdx="2" clrIdx="0"/>
  <p:cmAuthor id="1272" name="刘薇" initials="刘" lastIdx="2" clrIdx="0"/>
  <p:cmAuthor id="1273" name="孙珍珍" initials="孙" lastIdx="0" clrIdx="1"/>
  <p:cmAuthor id="1274" name="李蓓" initials="李" lastIdx="4" clrIdx="2"/>
  <p:cmAuthor id="1275" name="童 灏" initials="童" lastIdx="1" clrIdx="728"/>
  <p:cmAuthor id="1276" name="yJQ" initials="y" lastIdx="1" clrIdx="733"/>
  <p:cmAuthor id="328" name="feng wei" initials="f" lastIdx="1" clrIdx="0"/>
  <p:cmAuthor id="458" name="26080314@qq.com" initials="2" lastIdx="1" clrIdx="181"/>
  <p:cmAuthor id="490" name="韩喆权" initials="韩" lastIdx="1" clrIdx="0"/>
  <p:cmAuthor id="501" name="黄洁雯" initials="黄" lastIdx="1" clrIdx="146"/>
  <p:cmAuthor id="8535702" name="曾蓓/贝贝" initials="曾" lastIdx="0" clrIdx="0"/>
  <p:cmAuthor id="739" name="丁喆彤" initials="丁" lastIdx="1" clrIdx="0"/>
  <p:cmAuthor id="49837077" name="小乐崽子" initials="小乐崽子" lastIdx="1" clrIdx="757"/>
  <p:cmAuthor id="856" name="shouzhan" initials="s" lastIdx="1" clrIdx="855"/>
  <p:cmAuthor id="859" name="阿坤" initials="阿" lastIdx="1" clrIdx="756"/>
  <p:cmAuthor id="867" name="asuspc" initials="a" lastIdx="1" clrIdx="866"/>
  <p:cmAuthor id="879" name="康炳振" initials="康" lastIdx="1" clrIdx="0"/>
  <p:cmAuthor id="891" name="16104" initials="1" lastIdx="1" clrIdx="890"/>
  <p:cmAuthor id="894" name="jinxin" initials="j" lastIdx="1" clrIdx="893"/>
  <p:cmAuthor id="146566726" name="高飞" initials="高" lastIdx="0" clrIdx="0"/>
  <p:cmAuthor id="146566727" name="xzb1" initials="x" lastIdx="1" clrIdx="1"/>
  <p:cmAuthor id="268064162" name="金鱼·张晨·远想·项目经理" initials="金" lastIdx="0" clrIdx="0"/>
  <p:cmAuthor id="268064163" name="JOHNNY GAO" initials="JG" lastIdx="1" clrIdx="2"/>
  <p:cmAuthor id="268064164" name="江 玲" initials="江" lastIdx="1" clrIdx="14"/>
  <p:cmAuthor id="931" name="柳岸" initials="柳" lastIdx="1" clrIdx="4"/>
  <p:cmAuthor id="938" name="俞寅达" initials="俞" lastIdx="10" clrIdx="0"/>
  <p:cmAuthor id="953" name="cindyhycai@hsbc.com.cn" initials="c" lastIdx="3" clrIdx="1"/>
  <p:cmAuthor id="958" name="肖雪杉" initials="肖" lastIdx="1" clrIdx="97"/>
  <p:cmAuthor id="988" name="超'S 康皮呦特儿" initials="超" lastIdx="1" clrIdx="0"/>
  <p:cmAuthor id="210492765" name="施普希（菜菜）" initials="施" lastIdx="0" clrIdx="0"/>
  <p:cmAuthor id="210492766" name="曹 朝辉" initials="曹" lastIdx="1" clrIdx="14"/>
  <p:cmAuthor id="998" name="rhpx" initials="r" lastIdx="1" clrIdx="2"/>
  <p:cmAuthor id="999" name="liuyadong" initials="l" lastIdx="1" clrIdx="953"/>
  <p:cmAuthor id="1000" name="lvpd" initials="l" lastIdx="1" clrIdx="999"/>
  <p:cmAuthor id="1001" name="陈健" initials="陈" lastIdx="1" clrIdx="138"/>
  <p:cmAuthor id="1003" name="likq06" initials="l" lastIdx="1" clrIdx="1002"/>
  <p:cmAuthor id="1004" name="wangjing48" initials="w" lastIdx="1" clrIdx="1003"/>
  <p:cmAuthor id="1005" name="Think" initials="T" lastIdx="1" clrIdx="1004"/>
  <p:cmAuthor id="1006" name="阚吉伟" initials="阚" lastIdx="1" clrIdx="163"/>
  <p:cmAuthor id="1007" name="jinrui02" initials="j" lastIdx="2" clrIdx="1006"/>
  <p:cmAuthor id="1008" name="阚 兴龙" initials="阚" lastIdx="1" clrIdx="23"/>
  <p:cmAuthor id="1009" name="石磊" initials="石" lastIdx="4" clrIdx="1001"/>
  <p:cmAuthor id="1010" name="王岩" initials="王" lastIdx="1" clrIdx="731"/>
  <p:cmAuthor id="1011" name="yangshh" initials="y" lastIdx="2" clrIdx="1007"/>
  <p:cmAuthor id="1012" name="wangweenie" initials="w" lastIdx="2" clrIdx="1025"/>
  <p:cmAuthor id="1014" name="guo yin" initials="g" lastIdx="2" clrIdx="956"/>
  <p:cmAuthor id="1015" name="穆 峯" initials="穆" lastIdx="1" clrIdx="771"/>
  <p:cmAuthor id="1016" name="张清霞" initials="张" lastIdx="1" clrIdx="203"/>
  <p:cmAuthor id="1083" name="Wei" initials="W" lastIdx="9" clrIdx="0"/>
  <p:cmAuthor id="1085" name="鞠颂" initials="鞠" lastIdx="1" clrIdx="1084"/>
  <p:cmAuthor id="1089" name="黄超" initials="黄" lastIdx="2" clrIdx="1088"/>
  <p:cmAuthor id="1094" name="Y3-518" initials="Y" lastIdx="1" clrIdx="1093"/>
  <p:cmAuthor id="1102" name="yanchao04" initials="y" lastIdx="1" clrIdx="1020"/>
  <p:cmAuthor id="1106" name="tianxy06" initials="t" lastIdx="1" clrIdx="1105"/>
  <p:cmAuthor id="1108" name="彭凯" initials="彭" lastIdx="1" clrIdx="1"/>
  <p:cmAuthor id="1111" name="lu tong" initials="l" lastIdx="1" clrIdx="0"/>
  <p:cmAuthor id="1113" name="liubw07" initials="l" lastIdx="1" clrIdx="1112"/>
  <p:cmAuthor id="1114" name="石惠敏" initials="石" lastIdx="1" clrIdx="1113"/>
  <p:cmAuthor id="1117" name="huxf" initials="h" lastIdx="1" clrIdx="1116"/>
  <p:cmAuthor id="1121" name="吴庆元" initials="吴" lastIdx="1" clrIdx="1120"/>
  <p:cmAuthor id="1124" name="tanfen" initials="t" lastIdx="2" clrIdx="1123"/>
  <p:cmAuthor id="1127" name="lidm70" initials="l" lastIdx="1" clrIdx="1126"/>
  <p:cmAuthor id="1131" name="luoye02" initials="l" lastIdx="2" clrIdx="1130"/>
  <p:cmAuthor id="1132" name="zhaoye08" initials="z" lastIdx="1" clrIdx="1131"/>
  <p:cmAuthor id="1141" name="zhongwen01" initials="z" lastIdx="2" clrIdx="1140"/>
  <p:cmAuthor id="1144" name="中国人寿新津公司" initials="中" lastIdx="2" clrIdx="732"/>
  <p:cmAuthor id="1157" name="fengxl1" initials="f" lastIdx="1" clrIdx="1156"/>
  <p:cmAuthor id="1159" name="easonyoun" initials="e" lastIdx="0" clrIdx="0"/>
  <p:cmAuthor id="1160" name="zhangzy130" initials="z" lastIdx="1" clrIdx="1159"/>
  <p:cmAuthor id="1164" name="preppypan@163.com" initials="p" lastIdx="1" clrIdx="93"/>
  <p:cmAuthor id="1173" name="未知用户66" initials="未" lastIdx="2" clrIdx="1"/>
  <p:cmAuthor id="1176" name="未知用户82" initials="未" lastIdx="1" clrIdx="0"/>
  <p:cmAuthor id="1183" name="JIDI" initials="J" lastIdx="0" clrIdx="0"/>
  <p:cmAuthor id="1195" name="严政宇" initials="严政宇" lastIdx="1" clrIdx="1194"/>
  <p:cmAuthor id="1215" name="THINPAD" initials="T" lastIdx="1" clrIdx="92"/>
  <p:cmAuthor id="1221" name="梁柏川" initials="梁" lastIdx="0" clrIdx="0"/>
  <p:cmAuthor id="1224" name="CSH" initials="C" lastIdx="1" clrIdx="120"/>
  <p:cmAuthor id="1229" name="wenxing" initials="w" lastIdx="3" clrIdx="0"/>
  <p:cmAuthor id="1230" name="sl" initials="s" lastIdx="1" clrIdx="429"/>
  <p:cmAuthor id="1233" name="17279" initials="1" lastIdx="1" clrIdx="1232"/>
  <p:cmAuthor id="1240" name="liwenjie" initials="l" lastIdx="1" clrIdx="1239"/>
  <p:cmAuthor id="1250" name="霍琰" initials="霍" lastIdx="1" clrIdx="422"/>
  <p:cmAuthor id="1263" name="liu jane" initials="l" lastIdx="2" clrIdx="175"/>
  <p:cmAuthor id="210492768" name="穆怀昊" initials="穆怀昊" lastIdx="1" clrIdx="745"/>
  <p:cmAuthor id="1316121253" name="baimuda987@163.com" initials="" lastIdx="1" clrIdx="1126"/>
  <p:cmAuthor id="1013" name="Guangming" initials="G" lastIdx="1" clrIdx="81"/>
  <p:cmAuthor id="1027" name="谢 小小" initials="谢" lastIdx="2" clrIdx="0"/>
  <p:cmAuthor id="1032" name="yu Grover" initials="y" lastIdx="1" clrIdx="1"/>
  <p:cmAuthor id="1033" name="47519" initials="4" lastIdx="1" clrIdx="1032"/>
  <p:cmAuthor id="1035" name="ChenQ" initials="C" lastIdx="1" clrIdx="1034"/>
  <p:cmAuthor id="1037" name="lijinhe" initials="l" lastIdx="1" clrIdx="1036"/>
  <p:cmAuthor id="1043" name="chenjy1018@outlook.com" initials="c" lastIdx="1" clrIdx="463"/>
  <p:cmAuthor id="1047" name="mazn01" initials="m" lastIdx="1" clrIdx="1046"/>
  <p:cmAuthor id="1048" name="李俊昭" initials="徐力" lastIdx="2" clrIdx="1047"/>
  <p:cmAuthor id="1050" name="y ks" initials="y" lastIdx="1" clrIdx="988"/>
  <p:cmAuthor id="1055" name="yuanwz02" initials="y" lastIdx="1" clrIdx="1054"/>
  <p:cmAuthor id="1056" name="anml02" initials="a" lastIdx="1" clrIdx="1055"/>
  <p:cmAuthor id="1057" name="51957" initials="5" lastIdx="1" clrIdx="1056"/>
  <p:cmAuthor id="1059" name="zhangruimin" initials="z" lastIdx="1" clrIdx="1058"/>
  <p:cmAuthor id="1065" name="nieting01" initials="n" lastIdx="1" clrIdx="1064"/>
  <p:cmAuthor id="1067" name="wangcz2" initials="w" lastIdx="3" clrIdx="0"/>
  <p:cmAuthor id="1077" name="金 翠萍" initials="金" lastIdx="1" clrIdx="136"/>
  <p:cmAuthor id="1078" name="tklyan@outlook.com" initials="t" lastIdx="1" clrIdx="727"/>
  <p:cmAuthor id="1316121255" name="BIZIYING598" initials="B" lastIdx="1" clrIdx="1316121254"/>
  <p:cmAuthor id="252249147" name="二宫家的tokyo" initials="二" lastIdx="1" clrIdx="18"/>
  <p:cmAuthor id="350" name="Olivia Fung" initials="O" lastIdx="1" clrIdx="0"/>
  <p:cmAuthor id="1316121256" name="LUYISHAN107" initials="L" lastIdx="2" clrIdx="1316121255"/>
  <p:cmAuthor id="1017" name="袁 栋" initials="袁" lastIdx="1" clrIdx="34"/>
  <p:cmAuthor id="1316121257" name="LIZHUOYA004" initials="L" lastIdx="3" clrIdx="1316121256"/>
  <p:cmAuthor id="1049" name="hechun" initials="h" lastIdx="1" clrIdx="1007"/>
  <p:cmAuthor id="1053" name="linyi" initials="l" lastIdx="1" clrIdx="1052"/>
  <p:cmAuthor id="1082" name="马纪梅" initials="马" lastIdx="2" clrIdx="0"/>
  <p:cmAuthor id="1091" name="p LJ" initials="p" lastIdx="2" clrIdx="0"/>
  <p:cmAuthor id="1104" name="ss" initials="s" lastIdx="3" clrIdx="21"/>
  <p:cmAuthor id="1142" name="猪小果的小本本" initials="猪" lastIdx="2" clrIdx="202"/>
  <p:cmAuthor id="1143" name="田卫明" initials="田" lastIdx="12" clrIdx="0"/>
  <p:cmAuthor id="1156" name="xingxf" initials="x" lastIdx="2" clrIdx="0"/>
  <p:cmAuthor id="1161" name="NiHao" initials="N" lastIdx="1" clrIdx="897"/>
  <p:cmAuthor id="1171" name="郑由星_外网" initials="郑" lastIdx="0" clrIdx="0"/>
  <p:cmAuthor id="1172" name="闫旭" initials="闫" lastIdx="1" clrIdx="746"/>
  <p:cmAuthor id="1174" name="Joyce Ren" initials="J" lastIdx="64" clrIdx="1"/>
  <p:cmAuthor id="1178" name="未定义" initials="未" lastIdx="11" clrIdx="0"/>
  <p:cmAuthor id="1180" name="qiuws01" initials="qiuws01" lastIdx="1" clrIdx="1179"/>
  <p:cmAuthor id="1184" name="mengxy27" initials="m" lastIdx="1" clrIdx="1183"/>
  <p:cmAuthor id="1185" name="yang kina" initials="y" lastIdx="1" clrIdx="735"/>
  <p:cmAuthor id="1186" name="tytlertang" initials="t" lastIdx="1" clrIdx="1185"/>
  <p:cmAuthor id="1187" name="liuming31" initials="l" lastIdx="1" clrIdx="1186"/>
  <p:cmAuthor id="353158055" name="韩雨" initials="韩" lastIdx="0" clrIdx="0"/>
  <p:cmAuthor id="1188" name="547518668@qq.com" initials="5" lastIdx="1" clrIdx="0"/>
  <p:cmAuthor id="1189" name="xiaoyang20" initials="x" lastIdx="1" clrIdx="1188"/>
  <p:cmAuthor id="1194" name="葛艳艳" initials="葛" lastIdx="2" clrIdx="126"/>
  <p:cmAuthor id="1196" name="30827" initials="3" lastIdx="2" clrIdx="23"/>
  <p:cmAuthor id="1207" name="徐建刚" initials="徐" lastIdx="2" clrIdx="1206"/>
  <p:cmAuthor id="1212" name="13602" initials="1" lastIdx="1" clrIdx="1211"/>
  <p:cmAuthor id="1225" name="gayxb" initials="g" lastIdx="1" clrIdx="743"/>
  <p:cmAuthor id="1236" name="yang" initials="y" lastIdx="1" clrIdx="144"/>
  <p:cmAuthor id="1239" name="FXZC" initials="F" lastIdx="1" clrIdx="94"/>
  <p:cmAuthor id="1241" name="xiaoxuan Zeng" initials="x" lastIdx="1" clrIdx="0"/>
  <p:cmAuthor id="1254" name="Chen Gin" initials="C" lastIdx="0" clrIdx="1"/>
  <p:cmAuthor id="1256" name="cs" initials="c" lastIdx="1" clrIdx="733"/>
  <p:cmAuthor id="1259" name="lish54" initials="l" lastIdx="2" clrIdx="744"/>
  <p:cmAuthor id="1260" name="袁 玥挺" initials="袁" lastIdx="1" clrIdx="2"/>
  <p:cmAuthor id="1265" name="tjliqq" initials="tjliqq" lastIdx="1" clrIdx="1264"/>
  <p:cmAuthor id="1267" name="zhangll237" initials="z" lastIdx="1" clrIdx="1266"/>
  <p:cmAuthor id="356" name="李秋静" initials="李" lastIdx="1" clrIdx="1"/>
  <p:cmAuthor id="287643681" name="殷格非" initials="殷" lastIdx="2" clrIdx="0"/>
  <p:cmAuthor id="287643682" name="z r" initials="zr" lastIdx="5" clrIdx="12"/>
  <p:cmAuthor id="374" name="未知用户152" initials="未" lastIdx="3" clrIdx="0"/>
  <p:cmAuthor id="385" name="刘云飞" initials="刘" lastIdx="1" clrIdx="6"/>
  <p:cmAuthor id="394525608" name="仇怿俊" initials="仇" lastIdx="0" clrIdx="0"/>
  <p:cmAuthor id="425" name="Kate Rijnen" initials="K" lastIdx="11" clrIdx="2"/>
  <p:cmAuthor id="426" name="Mark McGregor (HI)" initials="M" lastIdx="33" clrIdx="3"/>
  <p:cmAuthor id="434" name="ZYM" initials="Z" lastIdx="0" clrIdx="18"/>
  <p:cmAuthor id="446" name="王源" initials="王" lastIdx="2" clrIdx="1"/>
  <p:cmAuthor id="499" name="tkqd" initials="t" lastIdx="1" clrIdx="0"/>
  <p:cmAuthor id="1411827" name="黄晓平" initials="黄" lastIdx="0" clrIdx="0"/>
  <p:cmAuthor id="1411828" name="徐琳00159163" initials="徐琳00159163" lastIdx="1" clrIdx="37"/>
  <p:cmAuthor id="191251539" name="Tyx" initials="T" lastIdx="1" clrIdx="85"/>
  <p:cmAuthor id="191251540" name="lili" initials="lili" lastIdx="2" clrIdx="86"/>
  <p:cmAuthor id="691587970" name="小延魔法师" initials="小" lastIdx="1126286" clrIdx="0"/>
  <p:cmAuthor id="691587971" name="王林10186938" initials="王林10186938" lastIdx="1" clrIdx="41"/>
  <p:cmAuthor id="691587972" name="li hui" initials="lh" lastIdx="1" clrIdx="50"/>
  <p:cmAuthor id="49837078" name="huangliangliang" initials="h" lastIdx="2" clrIdx="761"/>
  <p:cmAuthor id="47245819" name="群智集" initials="群" lastIdx="0" clrIdx="0"/>
  <p:cmAuthor id="268064165" name="陈 玉凤" initials="陈" lastIdx="1" clrIdx="14"/>
  <p:cmAuthor id="954" name="教育培训部" initials="教" lastIdx="1" clrIdx="953"/>
  <p:cmAuthor id="775" name="8613250766486" initials="8" lastIdx="2" clrIdx="729"/>
  <p:cmAuthor id="1018" name="36582" initials="3" lastIdx="1" clrIdx="1017"/>
  <p:cmAuthor id="1316121254" name="xiangwenjuan001" initials="x" lastIdx="2" clrIdx="1316121253"/>
  <p:cmAuthor id="946" name="董苗苗" initials="董" lastIdx="0" clrIdx="1"/>
  <p:cmAuthor id="1316121258" name="FANMIAO706" initials="F" lastIdx="1" clrIdx="1316121257"/>
  <p:cmAuthor id="1316121259" name="杨晓燕(医保科技总部总经理室)" initials="杨晓燕(医保科技总部总经理室)" lastIdx="11" clrIdx="1316121258"/>
  <p:cmAuthor id="358" name="宋 晨" initials="宋" lastIdx="1" clrIdx="22"/>
  <p:cmAuthor id="369" name="未知用户69" initials="未" lastIdx="0" clrIdx="1"/>
  <p:cmAuthor id="408" name="office2016mac05452" initials="o" lastIdx="1" clrIdx="0"/>
  <p:cmAuthor id="1165" name="86158" initials="8" lastIdx="2" clrIdx="915"/>
  <p:cmAuthor id="971" name="GS" initials="G" lastIdx="1" clrIdx="38"/>
  <p:cmAuthor id="972" name="wangyi" initials="w" lastIdx="2" clrIdx="0"/>
  <p:cmAuthor id="1150" name="tpuser" initials="t" lastIdx="1" clrIdx="0"/>
  <p:cmAuthor id="295" name="未知用户153" initials="未" lastIdx="2" clrIdx="0"/>
  <p:cmAuthor id="375" name="邓鹏君" initials="邓" lastIdx="1" clrIdx="0"/>
  <p:cmAuthor id="421" name="未知用户104" initials="未" lastIdx="7" clrIdx="0"/>
  <p:cmAuthor id="422" name="未知用户296" initials="未" lastIdx="1" clrIdx="0"/>
  <p:cmAuthor id="423" name="CHEN Amber" initials="C" lastIdx="1" clrIdx="229"/>
  <p:cmAuthor id="431" name="pizhou" initials="p" lastIdx="1" clrIdx="430"/>
  <p:cmAuthor id="452" name="TPHK" initials="T" lastIdx="2" clrIdx="451"/>
  <p:cmAuthor id="737" name="ST-Zhaoyamo" initials="S" lastIdx="18" clrIdx="1"/>
  <p:cmAuthor id="885" name="kp l" initials="k" lastIdx="2" clrIdx="0"/>
  <p:cmAuthor id="1002" name="欢 韩" initials="欢" lastIdx="1" clrIdx="936"/>
  <p:cmAuthor id="1042" name="Achex" initials="A" lastIdx="1" clrIdx="86"/>
  <p:cmAuthor id="1069" name="ZXAGX@outlook.com" initials="Z" lastIdx="1" clrIdx="138"/>
  <p:cmAuthor id="1125" name="wangyuan20" initials="w" lastIdx="0" clrIdx="1"/>
  <p:cmAuthor id="1139" name="陈希(寿险一元培训部)" initials="陈" lastIdx="1" clrIdx="0"/>
  <p:cmAuthor id="392" name="未知用户98" initials="未" lastIdx="1" clrIdx="0"/>
  <p:cmAuthor id="175" name="未知用户91" initials="未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6600"/>
    <a:srgbClr val="CC3300"/>
    <a:srgbClr val="B2B2B2"/>
    <a:srgbClr val="202020"/>
    <a:srgbClr val="323232"/>
    <a:srgbClr val="CC0000"/>
    <a:srgbClr val="FF3300"/>
    <a:srgbClr val="990000"/>
    <a:srgbClr val="FF8D4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12278"/>
    <p:restoredTop sz="94660"/>
  </p:normalViewPr>
  <p:slideViewPr>
    <p:cSldViewPr snapToGrid="0" showGuides="1">
      <p:cViewPr varScale="1">
        <p:scale>
          <a:sx n="75" d="100"/>
          <a:sy n="75" d="100"/>
        </p:scale>
        <p:origin x="90" y="96"/>
      </p:cViewPr>
      <p:guideLst>
        <p:guide orient="horz" pos="2173"/>
        <p:guide pos="4052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1999" cy="71999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7" Type="http://schemas.openxmlformats.org/officeDocument/2006/relationships/commentAuthors" Target="commentAuthors.xml"/><Relationship Id="rId16" Type="http://schemas.openxmlformats.org/officeDocument/2006/relationships/tableStyles" Target="tableStyles.xml"/><Relationship Id="rId15" Type="http://schemas.openxmlformats.org/officeDocument/2006/relationships/viewProps" Target="viewProps.xml"/><Relationship Id="rId14" Type="http://schemas.openxmlformats.org/officeDocument/2006/relationships/presProps" Target="presProps.xml"/><Relationship Id="rId13" Type="http://schemas.openxmlformats.org/officeDocument/2006/relationships/handoutMaster" Target="handoutMasters/handoutMaster1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/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45"/>
            </a:lvl1pPr>
          </a:lstStyle>
          <a:p>
            <a:pPr fontAlgn="auto"/>
            <a:endParaRPr lang="zh-CN" altLang="en-US" strike="noStrike" noProof="1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4024313" y="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45"/>
            </a:lvl1pPr>
          </a:lstStyle>
          <a:p>
            <a:pPr fontAlgn="auto"/>
            <a:fld id="{0F9B84EA-7D68-4D60-9CB1-D50884785D1C}" type="datetimeFigureOut">
              <a:rPr lang="zh-CN" altLang="en-US" sz="1245" strike="noStrike" noProof="1" smtClean="0">
                <a:latin typeface="+mn-lt"/>
                <a:ea typeface="+mn-ea"/>
                <a:cs typeface="+mn-cs"/>
              </a:rPr>
            </a:fld>
            <a:endParaRPr lang="zh-CN" altLang="en-US" strike="noStrike" noProof="1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720263"/>
            <a:ext cx="3078163" cy="5143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45"/>
            </a:lvl1pPr>
          </a:lstStyle>
          <a:p>
            <a:pPr fontAlgn="auto"/>
            <a:endParaRPr lang="zh-CN" altLang="en-US" strike="noStrike" noProof="1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4024313" y="9720263"/>
            <a:ext cx="3078163" cy="5143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45"/>
            </a:lvl1pPr>
          </a:lstStyle>
          <a:p>
            <a:pPr fontAlgn="auto"/>
            <a:fld id="{8D4E0FC9-F1F8-4FAE-9988-3BA365CFD46F}" type="slidenum">
              <a:rPr lang="zh-CN" altLang="en-US" sz="1245" strike="noStrike" noProof="1" smtClean="0">
                <a:latin typeface="+mn-lt"/>
                <a:ea typeface="+mn-ea"/>
                <a:cs typeface="+mn-cs"/>
              </a:rPr>
            </a:fld>
            <a:endParaRPr lang="zh-CN" altLang="en-US" strike="noStrike" noProof="1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/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 fontAlgn="auto"/>
            <a:endParaRPr lang="zh-CN" altLang="en-US" strike="noStrike" noProof="1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 fontAlgn="auto"/>
            <a:fld id="{D6C8D182-E4C8-4120-9249-FC9774456FFA}" type="datetimeFigureOut">
              <a:rPr lang="zh-CN" altLang="en-US" strike="noStrike" noProof="1" smtClean="0">
                <a:latin typeface="+mn-lt"/>
                <a:ea typeface="+mn-ea"/>
                <a:cs typeface="+mn-cs"/>
              </a:rPr>
            </a:fld>
            <a:endParaRPr lang="zh-CN" altLang="en-US" strike="noStrike" noProof="1"/>
          </a:p>
        </p:txBody>
      </p:sp>
      <p:sp>
        <p:nvSpPr>
          <p:cNvPr id="3076" name="幻灯片图像占位符 3"/>
          <p:cNvSpPr>
            <a:spLocks noGrp="1" noRot="1" noChangeAspect="1"/>
          </p:cNvSpPr>
          <p:nvPr>
            <p:ph type="sldImg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3077" name="备注占位符 4"/>
          <p:cNvSpPr>
            <a:spLocks noGrp="1"/>
          </p:cNvSpPr>
          <p:nvPr>
            <p:ph type="body" sz="quarter"/>
          </p:nvPr>
        </p:nvSpPr>
        <p:spPr>
          <a:xfrm>
            <a:off x="711200" y="4926013"/>
            <a:ext cx="5683250" cy="4029075"/>
          </a:xfrm>
          <a:prstGeom prst="rect">
            <a:avLst/>
          </a:prstGeom>
          <a:noFill/>
          <a:ln w="9525">
            <a:noFill/>
          </a:ln>
        </p:spPr>
        <p:txBody>
          <a:bodyPr vert="horz" lIns="91440" tIns="45720" rIns="91440" bIns="45720" anchor="t" anchorCtr="0"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fontAlgn="auto"/>
            <a:endParaRPr lang="zh-CN" altLang="en-US" strike="noStrike" noProof="1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fontAlgn="auto"/>
            <a:fld id="{85D0DACE-38E0-42D2-9336-2B707D34BC6D}" type="slidenum">
              <a:rPr lang="zh-CN" altLang="en-US" strike="noStrike" noProof="1" smtClean="0">
                <a:latin typeface="+mn-lt"/>
                <a:ea typeface="+mn-ea"/>
                <a:cs typeface="+mn-cs"/>
              </a:rPr>
            </a:fld>
            <a:endParaRPr lang="zh-CN" altLang="en-US" strike="noStrike" noProof="1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/>
          </p:nvPr>
        </p:nvSpPr>
        <p:spPr/>
      </p:sp>
      <p:sp>
        <p:nvSpPr>
          <p:cNvPr id="3" name="文本占位符 2"/>
          <p:cNvSpPr/>
          <p:nvPr>
            <p:ph type="body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/>
          </p:nvPr>
        </p:nvSpPr>
        <p:spPr/>
      </p:sp>
      <p:sp>
        <p:nvSpPr>
          <p:cNvPr id="3" name="文本占位符 2"/>
          <p:cNvSpPr/>
          <p:nvPr>
            <p:ph type="body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/>
          </p:nvPr>
        </p:nvSpPr>
        <p:spPr/>
      </p:sp>
      <p:sp>
        <p:nvSpPr>
          <p:cNvPr id="3" name="文本占位符 2"/>
          <p:cNvSpPr/>
          <p:nvPr>
            <p:ph type="body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Relationship Id="rId3" Type="http://schemas.openxmlformats.org/officeDocument/2006/relationships/tags" Target="../tags/tag1.xml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.vml"/><Relationship Id="rId6" Type="http://schemas.openxmlformats.org/officeDocument/2006/relationships/image" Target="../media/image5.jpeg"/><Relationship Id="rId5" Type="http://schemas.openxmlformats.org/officeDocument/2006/relationships/tags" Target="../tags/tag3.xml"/><Relationship Id="rId4" Type="http://schemas.openxmlformats.org/officeDocument/2006/relationships/image" Target="../media/image2.emf"/><Relationship Id="rId3" Type="http://schemas.openxmlformats.org/officeDocument/2006/relationships/oleObject" Target="../embeddings/oleObject2.bin"/><Relationship Id="rId2" Type="http://schemas.openxmlformats.org/officeDocument/2006/relationships/tags" Target="../tags/tag2.xml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1524000" y="1322962"/>
            <a:ext cx="9144000" cy="2187001"/>
          </a:xfrm>
        </p:spPr>
        <p:txBody>
          <a:bodyPr anchor="b">
            <a:normAutofit/>
          </a:bodyPr>
          <a:lstStyle>
            <a:lvl1pPr algn="ctr">
              <a:lnSpc>
                <a:spcPct val="130000"/>
              </a:lnSpc>
              <a:defRPr sz="6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fontAlgn="auto"/>
            <a:r>
              <a:rPr lang="zh-CN" altLang="en-US" strike="noStrike" noProof="1" dirty="0"/>
              <a:t>单击此处添加标题</a:t>
            </a:r>
            <a:endParaRPr lang="zh-CN" altLang="en-US" strike="noStrike" noProof="1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+mj-lt"/>
                <a:ea typeface="+mj-ea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fontAlgn="auto"/>
            <a:r>
              <a:rPr lang="zh-CN" altLang="en-US" strike="noStrike" noProof="1" dirty="0"/>
              <a:t>单击此处添加副标题</a:t>
            </a:r>
            <a:endParaRPr lang="zh-CN" altLang="en-US" strike="noStrike" noProof="1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p>
            <a:pPr fontAlgn="auto"/>
            <a:fld id="{760FBDFE-C587-4B4C-A407-44438C67B59E}" type="datetimeFigureOut">
              <a:rPr lang="zh-CN" altLang="en-US" strike="noStrike" noProof="1" smtClean="0">
                <a:latin typeface="+mn-lt"/>
                <a:ea typeface="+mn-ea"/>
                <a:cs typeface="+mn-cs"/>
              </a:rPr>
            </a:fld>
            <a:endParaRPr lang="zh-CN" altLang="en-US" strike="noStrike" noProof="1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p>
            <a:pPr fontAlgn="auto"/>
            <a:endParaRPr lang="zh-CN" altLang="en-US" strike="noStrike" noProof="1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pPr fontAlgn="auto"/>
            <a:fld id="{49AE70B2-8BF9-45C0-BB95-33D1B9D3A854}" type="slidenum">
              <a:rPr lang="zh-CN" altLang="en-US" strike="noStrike" noProof="1" smtClean="0">
                <a:latin typeface="+mn-lt"/>
                <a:ea typeface="+mn-ea"/>
                <a:cs typeface="+mn-cs"/>
              </a:rPr>
            </a:fld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内容占位符 6"/>
          <p:cNvSpPr>
            <a:spLocks noGrp="1"/>
          </p:cNvSpPr>
          <p:nvPr>
            <p:ph sz="quarter" idx="13"/>
          </p:nvPr>
        </p:nvSpPr>
        <p:spPr>
          <a:xfrm>
            <a:off x="838200" y="551543"/>
            <a:ext cx="10515600" cy="5558971"/>
          </a:xfrm>
        </p:spPr>
        <p:txBody>
          <a:bodyPr/>
          <a:lstStyle/>
          <a:p>
            <a:pPr lvl="0" fontAlgn="auto"/>
            <a:r>
              <a:rPr lang="zh-CN" altLang="en-US" strike="noStrike" noProof="1" dirty="0"/>
              <a:t>单击此处编辑母版文本样式</a:t>
            </a:r>
            <a:endParaRPr lang="zh-CN" altLang="en-US" strike="noStrike" noProof="1" dirty="0"/>
          </a:p>
          <a:p>
            <a:pPr lvl="1" fontAlgn="auto"/>
            <a:r>
              <a:rPr lang="zh-CN" altLang="en-US" strike="noStrike" noProof="1" dirty="0"/>
              <a:t>第二级</a:t>
            </a:r>
            <a:endParaRPr lang="zh-CN" altLang="en-US" strike="noStrike" noProof="1" dirty="0"/>
          </a:p>
          <a:p>
            <a:pPr lvl="2" fontAlgn="auto"/>
            <a:r>
              <a:rPr lang="zh-CN" altLang="en-US" strike="noStrike" noProof="1" dirty="0"/>
              <a:t>第三级</a:t>
            </a:r>
            <a:endParaRPr lang="zh-CN" altLang="en-US" strike="noStrike" noProof="1" dirty="0"/>
          </a:p>
          <a:p>
            <a:pPr lvl="3" fontAlgn="auto"/>
            <a:r>
              <a:rPr lang="zh-CN" altLang="en-US" strike="noStrike" noProof="1" dirty="0"/>
              <a:t>第四级</a:t>
            </a:r>
            <a:endParaRPr lang="zh-CN" altLang="en-US" strike="noStrike" noProof="1" dirty="0"/>
          </a:p>
          <a:p>
            <a:pPr lvl="4" fontAlgn="auto"/>
            <a:r>
              <a:rPr lang="zh-CN" altLang="en-US" strike="noStrike" noProof="1" dirty="0"/>
              <a:t>第五级</a:t>
            </a:r>
            <a:endParaRPr lang="zh-CN" altLang="en-US" strike="noStrike" noProof="1" dirty="0"/>
          </a:p>
        </p:txBody>
      </p:sp>
      <p:sp>
        <p:nvSpPr>
          <p:cNvPr id="2" name="日期占位符 1"/>
          <p:cNvSpPr>
            <a:spLocks noGrp="1"/>
          </p:cNvSpPr>
          <p:nvPr>
            <p:ph type="dt" sz="half" idx="14"/>
          </p:nvPr>
        </p:nvSpPr>
        <p:spPr/>
        <p:txBody>
          <a:bodyPr/>
          <a:p>
            <a:pPr fontAlgn="auto"/>
            <a:fld id="{760FBDFE-C587-4B4C-A407-44438C67B59E}" type="datetimeFigureOut">
              <a:rPr lang="zh-CN" altLang="en-US" strike="noStrike" noProof="1" smtClean="0">
                <a:latin typeface="+mn-lt"/>
                <a:ea typeface="+mn-ea"/>
                <a:cs typeface="+mn-cs"/>
              </a:rPr>
            </a:fld>
            <a:endParaRPr lang="zh-CN" altLang="en-US" strike="noStrike" noProof="1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5"/>
          </p:nvPr>
        </p:nvSpPr>
        <p:spPr/>
        <p:txBody>
          <a:bodyPr/>
          <a:p>
            <a:pPr fontAlgn="auto"/>
            <a:endParaRPr lang="zh-CN" altLang="en-US" strike="noStrike" noProof="1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6"/>
          </p:nvPr>
        </p:nvSpPr>
        <p:spPr/>
        <p:txBody>
          <a:bodyPr/>
          <a:p>
            <a:pPr fontAlgn="auto"/>
            <a:fld id="{49AE70B2-8BF9-45C0-BB95-33D1B9D3A854}" type="slidenum">
              <a:rPr lang="zh-CN" altLang="en-US" strike="noStrike" noProof="1" smtClean="0">
                <a:latin typeface="+mn-lt"/>
                <a:ea typeface="+mn-ea"/>
                <a:cs typeface="+mn-cs"/>
              </a:rPr>
            </a:fld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25692" y="300666"/>
            <a:ext cx="11586908" cy="424732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400" b="1">
                <a:solidFill>
                  <a:srgbClr val="F05A23"/>
                </a:solidFill>
                <a:latin typeface="Arial" panose="02080604020202020204" pitchFamily="34" charset="0"/>
                <a:ea typeface="华文楷体" panose="02010600040101010101" pitchFamily="2" charset="-122"/>
                <a:cs typeface="Arial" panose="0208060402020202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封面页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38392" y="0"/>
            <a:ext cx="11853607" cy="6857999"/>
          </a:xfrm>
          <a:prstGeom prst="rect">
            <a:avLst/>
          </a:prstGeom>
        </p:spPr>
      </p:pic>
      <p:graphicFrame>
        <p:nvGraphicFramePr>
          <p:cNvPr id="2" name="对象 2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522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对象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组合 25"/>
          <p:cNvGrpSpPr>
            <a:grpSpLocks noChangeAspect="1"/>
          </p:cNvGrpSpPr>
          <p:nvPr userDrawn="1"/>
        </p:nvGrpSpPr>
        <p:grpSpPr bwMode="auto">
          <a:xfrm>
            <a:off x="541422" y="232807"/>
            <a:ext cx="1382029" cy="471868"/>
            <a:chOff x="13103547" y="829734"/>
            <a:chExt cx="2203232" cy="827288"/>
          </a:xfrm>
        </p:grpSpPr>
        <p:pic>
          <p:nvPicPr>
            <p:cNvPr id="5" name="图片 26"/>
            <p:cNvPicPr>
              <a:picLocks noChangeAspect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13586494" y="885667"/>
              <a:ext cx="1720285" cy="72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6" name="组合 27"/>
            <p:cNvGrpSpPr/>
            <p:nvPr/>
          </p:nvGrpSpPr>
          <p:grpSpPr bwMode="auto">
            <a:xfrm>
              <a:off x="13103547" y="829734"/>
              <a:ext cx="171450" cy="827288"/>
              <a:chOff x="12841961" y="829734"/>
              <a:chExt cx="171450" cy="827288"/>
            </a:xfrm>
          </p:grpSpPr>
          <p:cxnSp>
            <p:nvCxnSpPr>
              <p:cNvPr id="7" name="直接连接符 28"/>
              <p:cNvCxnSpPr/>
              <p:nvPr/>
            </p:nvCxnSpPr>
            <p:spPr>
              <a:xfrm>
                <a:off x="12841961" y="829734"/>
                <a:ext cx="0" cy="827288"/>
              </a:xfrm>
              <a:prstGeom prst="line">
                <a:avLst/>
              </a:prstGeom>
              <a:ln w="57150">
                <a:solidFill>
                  <a:srgbClr val="EA540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" name="直接连接符 29"/>
              <p:cNvCxnSpPr/>
              <p:nvPr/>
            </p:nvCxnSpPr>
            <p:spPr>
              <a:xfrm>
                <a:off x="13013944" y="829734"/>
                <a:ext cx="0" cy="827288"/>
              </a:xfrm>
              <a:prstGeom prst="line">
                <a:avLst/>
              </a:prstGeom>
              <a:ln w="25400">
                <a:solidFill>
                  <a:srgbClr val="EA540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" name="矩形 2"/>
          <p:cNvSpPr/>
          <p:nvPr userDrawn="1"/>
        </p:nvSpPr>
        <p:spPr>
          <a:xfrm>
            <a:off x="0" y="0"/>
            <a:ext cx="148171" cy="6858000"/>
          </a:xfrm>
          <a:prstGeom prst="rect">
            <a:avLst/>
          </a:prstGeom>
          <a:solidFill>
            <a:srgbClr val="FF6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cxnSp>
        <p:nvCxnSpPr>
          <p:cNvPr id="16" name="直接连接符 15"/>
          <p:cNvCxnSpPr/>
          <p:nvPr userDrawn="1"/>
        </p:nvCxnSpPr>
        <p:spPr>
          <a:xfrm>
            <a:off x="243281" y="0"/>
            <a:ext cx="0" cy="685800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 rotWithShape="1">
          <a:blip r:embed="rId2" cstate="print">
            <a:grayscl/>
          </a:blip>
          <a:srcRect/>
          <a:stretch>
            <a:fillRect/>
          </a:stretch>
        </p:blipFill>
        <p:spPr>
          <a:xfrm>
            <a:off x="0" y="0"/>
            <a:ext cx="3755923" cy="6858000"/>
          </a:xfrm>
          <a:prstGeom prst="rect">
            <a:avLst/>
          </a:prstGeom>
        </p:spPr>
      </p:pic>
      <p:grpSp>
        <p:nvGrpSpPr>
          <p:cNvPr id="3" name="组合 2"/>
          <p:cNvGrpSpPr/>
          <p:nvPr userDrawn="1"/>
        </p:nvGrpSpPr>
        <p:grpSpPr>
          <a:xfrm>
            <a:off x="-3750" y="0"/>
            <a:ext cx="3759673" cy="5905045"/>
            <a:chOff x="-3750" y="0"/>
            <a:chExt cx="4252957" cy="5905045"/>
          </a:xfrm>
          <a:solidFill>
            <a:schemeClr val="bg1">
              <a:lumMod val="85000"/>
              <a:alpha val="50000"/>
            </a:schemeClr>
          </a:solidFill>
        </p:grpSpPr>
        <p:sp>
          <p:nvSpPr>
            <p:cNvPr id="4" name="矩形 3"/>
            <p:cNvSpPr/>
            <p:nvPr/>
          </p:nvSpPr>
          <p:spPr>
            <a:xfrm>
              <a:off x="0" y="0"/>
              <a:ext cx="4249207" cy="393714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5" name="直角三角形 4"/>
            <p:cNvSpPr/>
            <p:nvPr/>
          </p:nvSpPr>
          <p:spPr>
            <a:xfrm rot="10800000">
              <a:off x="-3750" y="3937145"/>
              <a:ext cx="4252957" cy="1967900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sp>
        <p:nvSpPr>
          <p:cNvPr id="6" name="直角三角形 5"/>
          <p:cNvSpPr/>
          <p:nvPr userDrawn="1"/>
        </p:nvSpPr>
        <p:spPr>
          <a:xfrm rot="10800000">
            <a:off x="1047748" y="-4"/>
            <a:ext cx="2830129" cy="2231503"/>
          </a:xfrm>
          <a:prstGeom prst="rtTriangle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7" name="文本框 6"/>
          <p:cNvSpPr txBox="1"/>
          <p:nvPr userDrawn="1"/>
        </p:nvSpPr>
        <p:spPr>
          <a:xfrm>
            <a:off x="286594" y="2611313"/>
            <a:ext cx="2984009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1200" cap="none" spc="0" normalizeH="0" baseline="0" noProof="0" dirty="0">
                <a:ln>
                  <a:noFill/>
                </a:ln>
                <a:solidFill>
                  <a:srgbClr val="F15822"/>
                </a:solidFill>
                <a:effectLst/>
                <a:uLnTx/>
                <a:uFillTx/>
                <a:cs typeface="+mn-ea"/>
                <a:sym typeface="+mn-lt"/>
              </a:rPr>
              <a:t>CONTENT</a:t>
            </a:r>
            <a:endParaRPr kumimoji="0" lang="en-US" altLang="zh-CN" sz="3200" b="1" i="0" u="none" strike="noStrike" kern="1200" cap="none" spc="0" normalizeH="0" baseline="0" noProof="0" dirty="0">
              <a:ln>
                <a:noFill/>
              </a:ln>
              <a:solidFill>
                <a:srgbClr val="F15822"/>
              </a:solidFill>
              <a:effectLst/>
              <a:uLnTx/>
              <a:uFillTx/>
              <a:cs typeface="+mn-ea"/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F15822"/>
                </a:solidFill>
                <a:effectLst/>
                <a:uLnTx/>
                <a:uFillTx/>
                <a:cs typeface="+mn-ea"/>
                <a:sym typeface="+mn-lt"/>
              </a:rPr>
              <a:t>目录</a:t>
            </a:r>
            <a:endParaRPr kumimoji="0" lang="zh-CN" altLang="en-US" sz="4400" b="1" i="0" u="none" strike="noStrike" kern="1200" cap="none" spc="0" normalizeH="0" baseline="0" noProof="0" dirty="0">
              <a:ln>
                <a:noFill/>
              </a:ln>
              <a:solidFill>
                <a:srgbClr val="F15822"/>
              </a:solidFill>
              <a:effectLst/>
              <a:uLnTx/>
              <a:uFillTx/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2"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561321" y="5117951"/>
            <a:ext cx="2743200" cy="96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altLang="zh-CN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【</a:t>
            </a:r>
            <a:r>
              <a:rPr lang="zh-CN" alt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材料汇总</a:t>
            </a:r>
            <a:r>
              <a:rPr lang="en-US" altLang="zh-CN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】201809CIO office sample sldies v5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140398"/>
            <a:ext cx="10934701" cy="72000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lnSpc>
                <a:spcPct val="100000"/>
              </a:lnSpc>
              <a:defRPr sz="2200" b="1">
                <a:latin typeface="+mj-ea"/>
                <a:ea typeface="+mj-ea"/>
              </a:defRPr>
            </a:lvl1pPr>
          </a:lstStyle>
          <a:p>
            <a:r>
              <a:rPr lang="en-US" altLang="zh-CN" dirty="0"/>
              <a:t>Click to add title</a:t>
            </a:r>
            <a:endParaRPr lang="en-US" dirty="0"/>
          </a:p>
        </p:txBody>
      </p:sp>
      <p:pic>
        <p:nvPicPr>
          <p:cNvPr id="9" name="Picture 13" descr="1321321.jpg"/>
          <p:cNvPicPr>
            <a:picLocks noChangeAspect="1"/>
          </p:cNvPicPr>
          <p:nvPr userDrawn="1"/>
        </p:nvPicPr>
        <p:blipFill rotWithShape="1">
          <a:blip r:embed="rId6" cstate="email"/>
          <a:srcRect t="-11413" b="-8087"/>
          <a:stretch>
            <a:fillRect/>
          </a:stretch>
        </p:blipFill>
        <p:spPr bwMode="auto">
          <a:xfrm>
            <a:off x="-1" y="6537326"/>
            <a:ext cx="12192001" cy="335915"/>
          </a:xfrm>
          <a:prstGeom prst="rect">
            <a:avLst/>
          </a:prstGeom>
          <a:noFill/>
          <a:ln>
            <a:noFill/>
          </a:ln>
          <a:effectLst>
            <a:glow>
              <a:schemeClr val="accent1">
                <a:alpha val="40000"/>
              </a:schemeClr>
            </a:glow>
            <a:outerShdw blurRad="50800" dist="50800" dir="5400000" algn="ctr" rotWithShape="0">
              <a:srgbClr val="000000">
                <a:alpha val="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灯片编号占位符 5"/>
          <p:cNvSpPr txBox="1"/>
          <p:nvPr userDrawn="1"/>
        </p:nvSpPr>
        <p:spPr>
          <a:xfrm>
            <a:off x="9202189" y="6614676"/>
            <a:ext cx="2909888" cy="206381"/>
          </a:xfrm>
          <a:prstGeom prst="rect">
            <a:avLst/>
          </a:prstGeom>
        </p:spPr>
        <p:txBody>
          <a:bodyPr vert="horz" lIns="91332" tIns="0" rIns="91332" bIns="45665" rtlCol="0" anchor="b" anchorCtr="0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DD3DB80-B894-403A-B48E-6FDC1A72010E}" type="slidenum">
              <a:rPr lang="zh-CN" altLang="en-US" sz="1200" b="1" smtClean="0">
                <a:solidFill>
                  <a:schemeClr val="bg1">
                    <a:lumMod val="95000"/>
                  </a:schemeClr>
                </a:solidFill>
                <a:latin typeface="Arial" panose="020B0604020202020204"/>
                <a:ea typeface="微软雅黑" panose="020B0503020204020204" charset="-122"/>
              </a:rPr>
            </a:fld>
            <a:endParaRPr lang="zh-CN" altLang="en-US" sz="1200" b="1" dirty="0">
              <a:solidFill>
                <a:schemeClr val="bg1">
                  <a:lumMod val="95000"/>
                </a:schemeClr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cxnSp>
        <p:nvCxnSpPr>
          <p:cNvPr id="12" name="直接连接符 11"/>
          <p:cNvCxnSpPr/>
          <p:nvPr userDrawn="1"/>
        </p:nvCxnSpPr>
        <p:spPr>
          <a:xfrm>
            <a:off x="335361" y="826723"/>
            <a:ext cx="11420136" cy="0"/>
          </a:xfrm>
          <a:prstGeom prst="line">
            <a:avLst/>
          </a:prstGeom>
          <a:ln w="28575">
            <a:solidFill>
              <a:srgbClr val="EA55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/>
    </mc:Choice>
    <mc:Fallback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47700" y="258445"/>
            <a:ext cx="10515600" cy="1325563"/>
          </a:xfrm>
        </p:spPr>
        <p:txBody>
          <a:bodyPr anchor="ctr" anchorCtr="0">
            <a:normAutofit/>
          </a:bodyPr>
          <a:lstStyle>
            <a:lvl1pPr>
              <a:defRPr sz="24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fontAlgn="auto"/>
            <a:r>
              <a:rPr lang="zh-CN" altLang="en-US" strike="noStrike" noProof="1" dirty="0"/>
              <a:t>单击此处编辑母版标题样式</a:t>
            </a:r>
            <a:endParaRPr lang="zh-CN" altLang="en-US" strike="noStrike" noProof="1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47700" y="1825625"/>
            <a:ext cx="10515600" cy="4351338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 fontAlgn="auto"/>
            <a:r>
              <a:rPr lang="zh-CN" altLang="en-US" strike="noStrike" noProof="1" dirty="0"/>
              <a:t>单击此处编辑母版文本样式</a:t>
            </a:r>
            <a:endParaRPr lang="zh-CN" altLang="en-US" strike="noStrike" noProof="1" dirty="0"/>
          </a:p>
          <a:p>
            <a:pPr lvl="1" fontAlgn="auto"/>
            <a:r>
              <a:rPr lang="zh-CN" altLang="en-US" strike="noStrike" noProof="1" dirty="0"/>
              <a:t>第二级</a:t>
            </a:r>
            <a:endParaRPr lang="zh-CN" altLang="en-US" strike="noStrike" noProof="1" dirty="0"/>
          </a:p>
          <a:p>
            <a:pPr lvl="2" fontAlgn="auto"/>
            <a:r>
              <a:rPr lang="zh-CN" altLang="en-US" strike="noStrike" noProof="1" dirty="0"/>
              <a:t>第三级</a:t>
            </a:r>
            <a:endParaRPr lang="zh-CN" altLang="en-US" strike="noStrike" noProof="1" dirty="0"/>
          </a:p>
          <a:p>
            <a:pPr lvl="3" fontAlgn="auto"/>
            <a:r>
              <a:rPr lang="zh-CN" altLang="en-US" strike="noStrike" noProof="1" dirty="0"/>
              <a:t>第四级</a:t>
            </a:r>
            <a:endParaRPr lang="zh-CN" altLang="en-US" strike="noStrike" noProof="1" dirty="0"/>
          </a:p>
          <a:p>
            <a:pPr lvl="4" fontAlgn="auto"/>
            <a:r>
              <a:rPr lang="zh-CN" altLang="en-US" strike="noStrike" noProof="1" dirty="0"/>
              <a:t>第五级</a:t>
            </a:r>
            <a:endParaRPr lang="zh-CN" altLang="en-US" strike="noStrike" noProof="1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p>
            <a:pPr fontAlgn="auto"/>
            <a:fld id="{760FBDFE-C587-4B4C-A407-44438C67B59E}" type="datetimeFigureOut">
              <a:rPr lang="zh-CN" altLang="en-US" strike="noStrike" noProof="1" smtClean="0">
                <a:latin typeface="+mn-lt"/>
                <a:ea typeface="+mn-ea"/>
                <a:cs typeface="+mn-cs"/>
              </a:rPr>
            </a:fld>
            <a:endParaRPr lang="zh-CN" altLang="en-US" strike="noStrike" noProof="1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p>
            <a:pPr fontAlgn="auto"/>
            <a:endParaRPr lang="zh-CN" altLang="en-US" strike="noStrike" noProof="1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pPr fontAlgn="auto"/>
            <a:fld id="{49AE70B2-8BF9-45C0-BB95-33D1B9D3A854}" type="slidenum">
              <a:rPr lang="zh-CN" altLang="en-US" strike="noStrike" noProof="1" smtClean="0">
                <a:latin typeface="+mn-lt"/>
                <a:ea typeface="+mn-ea"/>
                <a:cs typeface="+mn-cs"/>
              </a:rPr>
            </a:fld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3751117"/>
            <a:ext cx="7321550" cy="811357"/>
          </a:xfrm>
        </p:spPr>
        <p:txBody>
          <a:bodyPr anchor="b">
            <a:normAutofit/>
          </a:bodyPr>
          <a:lstStyle>
            <a:lvl1pPr>
              <a:defRPr sz="4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fontAlgn="auto"/>
            <a:r>
              <a:rPr lang="zh-CN" altLang="en-US" strike="noStrike" noProof="1" dirty="0"/>
              <a:t>单击此处编辑母版标题样式</a:t>
            </a:r>
            <a:endParaRPr lang="zh-CN" altLang="en-US" strike="noStrike" noProof="1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610028"/>
            <a:ext cx="7321550" cy="6475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 fontAlgn="auto"/>
            <a:r>
              <a:rPr lang="zh-CN" altLang="en-US" strike="noStrike" noProof="1" dirty="0"/>
              <a:t>单击此处编辑母版文本样式</a:t>
            </a:r>
            <a:endParaRPr lang="zh-CN" altLang="en-US" strike="noStrike" noProof="1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p>
            <a:pPr fontAlgn="auto"/>
            <a:fld id="{760FBDFE-C587-4B4C-A407-44438C67B59E}" type="datetimeFigureOut">
              <a:rPr lang="zh-CN" altLang="en-US" strike="noStrike" noProof="1" smtClean="0">
                <a:latin typeface="+mn-lt"/>
                <a:ea typeface="+mn-ea"/>
                <a:cs typeface="+mn-cs"/>
              </a:rPr>
            </a:fld>
            <a:endParaRPr lang="zh-CN" altLang="en-US" strike="noStrike" noProof="1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p>
            <a:pPr fontAlgn="auto"/>
            <a:endParaRPr lang="zh-CN" altLang="en-US" strike="noStrike" noProof="1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pPr fontAlgn="auto"/>
            <a:fld id="{49AE70B2-8BF9-45C0-BB95-33D1B9D3A854}" type="slidenum">
              <a:rPr lang="zh-CN" altLang="en-US" strike="noStrike" noProof="1" smtClean="0">
                <a:latin typeface="+mn-lt"/>
                <a:ea typeface="+mn-ea"/>
                <a:cs typeface="+mn-cs"/>
              </a:rPr>
            </a:fld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47700" y="258445"/>
            <a:ext cx="10515600" cy="1325563"/>
          </a:xfrm>
        </p:spPr>
        <p:txBody>
          <a:bodyPr>
            <a:normAutofit/>
          </a:bodyPr>
          <a:lstStyle>
            <a:lvl1pPr>
              <a:defRPr sz="2400" b="1" i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fontAlgn="auto"/>
            <a:r>
              <a:rPr lang="zh-CN" altLang="en-US" strike="noStrike" noProof="1" dirty="0"/>
              <a:t>单击此处编辑母版标题样式</a:t>
            </a:r>
            <a:endParaRPr lang="zh-CN" altLang="en-US" strike="noStrike" noProof="1" dirty="0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47700" y="1825625"/>
            <a:ext cx="5181600" cy="4351338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lnSpc>
                <a:spcPct val="150000"/>
              </a:lnSpc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lnSpc>
                <a:spcPct val="150000"/>
              </a:lnSpc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lnSpc>
                <a:spcPct val="150000"/>
              </a:lnSpc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lnSpc>
                <a:spcPct val="150000"/>
              </a:lnSpc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 fontAlgn="auto"/>
            <a:r>
              <a:rPr lang="zh-CN" altLang="en-US" strike="noStrike" noProof="1" dirty="0"/>
              <a:t>单击此处编辑母版文本样式</a:t>
            </a:r>
            <a:endParaRPr lang="zh-CN" altLang="en-US" strike="noStrike" noProof="1" dirty="0"/>
          </a:p>
          <a:p>
            <a:pPr lvl="1" fontAlgn="auto"/>
            <a:r>
              <a:rPr lang="zh-CN" altLang="en-US" strike="noStrike" noProof="1" dirty="0"/>
              <a:t>第二级</a:t>
            </a:r>
            <a:endParaRPr lang="zh-CN" altLang="en-US" strike="noStrike" noProof="1" dirty="0"/>
          </a:p>
          <a:p>
            <a:pPr lvl="2" fontAlgn="auto"/>
            <a:r>
              <a:rPr lang="zh-CN" altLang="en-US" strike="noStrike" noProof="1" dirty="0"/>
              <a:t>第三级</a:t>
            </a:r>
            <a:endParaRPr lang="zh-CN" altLang="en-US" strike="noStrike" noProof="1" dirty="0"/>
          </a:p>
          <a:p>
            <a:pPr lvl="3" fontAlgn="auto"/>
            <a:r>
              <a:rPr lang="zh-CN" altLang="en-US" strike="noStrike" noProof="1" dirty="0"/>
              <a:t>第四级</a:t>
            </a:r>
            <a:endParaRPr lang="zh-CN" altLang="en-US" strike="noStrike" noProof="1" dirty="0"/>
          </a:p>
          <a:p>
            <a:pPr lvl="4" fontAlgn="auto"/>
            <a:r>
              <a:rPr lang="zh-CN" altLang="en-US" strike="noStrike" noProof="1" dirty="0"/>
              <a:t>第五级</a:t>
            </a:r>
            <a:endParaRPr lang="zh-CN" altLang="en-US" strike="noStrike" noProof="1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5981700" y="1825625"/>
            <a:ext cx="5181600" cy="4351338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lnSpc>
                <a:spcPct val="150000"/>
              </a:lnSpc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lnSpc>
                <a:spcPct val="150000"/>
              </a:lnSpc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lnSpc>
                <a:spcPct val="150000"/>
              </a:lnSpc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lnSpc>
                <a:spcPct val="150000"/>
              </a:lnSpc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 fontAlgn="auto"/>
            <a:r>
              <a:rPr lang="zh-CN" altLang="en-US" strike="noStrike" noProof="1" dirty="0"/>
              <a:t>单击此处编辑母版文本样式</a:t>
            </a:r>
            <a:endParaRPr lang="zh-CN" altLang="en-US" strike="noStrike" noProof="1" dirty="0"/>
          </a:p>
          <a:p>
            <a:pPr lvl="1" fontAlgn="auto"/>
            <a:r>
              <a:rPr lang="zh-CN" altLang="en-US" strike="noStrike" noProof="1" dirty="0"/>
              <a:t>第二级</a:t>
            </a:r>
            <a:endParaRPr lang="zh-CN" altLang="en-US" strike="noStrike" noProof="1" dirty="0"/>
          </a:p>
          <a:p>
            <a:pPr lvl="2" fontAlgn="auto"/>
            <a:r>
              <a:rPr lang="zh-CN" altLang="en-US" strike="noStrike" noProof="1" dirty="0"/>
              <a:t>第三级</a:t>
            </a:r>
            <a:endParaRPr lang="zh-CN" altLang="en-US" strike="noStrike" noProof="1" dirty="0"/>
          </a:p>
          <a:p>
            <a:pPr lvl="3" fontAlgn="auto"/>
            <a:r>
              <a:rPr lang="zh-CN" altLang="en-US" strike="noStrike" noProof="1" dirty="0"/>
              <a:t>第四级</a:t>
            </a:r>
            <a:endParaRPr lang="zh-CN" altLang="en-US" strike="noStrike" noProof="1" dirty="0"/>
          </a:p>
          <a:p>
            <a:pPr lvl="4" fontAlgn="auto"/>
            <a:r>
              <a:rPr lang="zh-CN" altLang="en-US" strike="noStrike" noProof="1" dirty="0"/>
              <a:t>第五级</a:t>
            </a:r>
            <a:endParaRPr lang="zh-CN" altLang="en-US" strike="noStrike" noProof="1" dirty="0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p>
            <a:pPr fontAlgn="auto"/>
            <a:fld id="{760FBDFE-C587-4B4C-A407-44438C67B59E}" type="datetimeFigureOut">
              <a:rPr lang="zh-CN" altLang="en-US" strike="noStrike" noProof="1" smtClean="0">
                <a:latin typeface="+mn-lt"/>
                <a:ea typeface="+mn-ea"/>
                <a:cs typeface="+mn-cs"/>
              </a:rPr>
            </a:fld>
            <a:endParaRPr lang="zh-CN" altLang="en-US" strike="noStrike" noProof="1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p>
            <a:pPr fontAlgn="auto"/>
            <a:endParaRPr lang="zh-CN" altLang="en-US" strike="noStrike" noProof="1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pPr fontAlgn="auto"/>
            <a:fld id="{49AE70B2-8BF9-45C0-BB95-33D1B9D3A854}" type="slidenum">
              <a:rPr lang="zh-CN" altLang="en-US" strike="noStrike" noProof="1" smtClean="0">
                <a:latin typeface="+mn-lt"/>
                <a:ea typeface="+mn-ea"/>
                <a:cs typeface="+mn-cs"/>
              </a:rPr>
            </a:fld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744961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 fontAlgn="auto"/>
            <a:r>
              <a:rPr lang="zh-CN" altLang="en-US" strike="noStrike" noProof="1" dirty="0"/>
              <a:t>单击此处编辑母版文本样式</a:t>
            </a:r>
            <a:endParaRPr lang="zh-CN" altLang="en-US" strike="noStrike" noProof="1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615609"/>
            <a:ext cx="5157787" cy="3574054"/>
          </a:xfrm>
        </p:spPr>
        <p:txBody>
          <a:bodyPr/>
          <a:lstStyle/>
          <a:p>
            <a:pPr lvl="0" fontAlgn="auto"/>
            <a:r>
              <a:rPr lang="zh-CN" altLang="en-US" strike="noStrike" noProof="1" dirty="0"/>
              <a:t>单击此处编辑母版文本样式</a:t>
            </a:r>
            <a:endParaRPr lang="zh-CN" altLang="en-US" strike="noStrike" noProof="1" dirty="0"/>
          </a:p>
          <a:p>
            <a:pPr lvl="1" fontAlgn="auto"/>
            <a:r>
              <a:rPr lang="zh-CN" altLang="en-US" strike="noStrike" noProof="1" dirty="0"/>
              <a:t>第二级</a:t>
            </a:r>
            <a:endParaRPr lang="zh-CN" altLang="en-US" strike="noStrike" noProof="1" dirty="0"/>
          </a:p>
          <a:p>
            <a:pPr lvl="2" fontAlgn="auto"/>
            <a:r>
              <a:rPr lang="zh-CN" altLang="en-US" strike="noStrike" noProof="1" dirty="0"/>
              <a:t>第三级</a:t>
            </a:r>
            <a:endParaRPr lang="zh-CN" altLang="en-US" strike="noStrike" noProof="1" dirty="0"/>
          </a:p>
          <a:p>
            <a:pPr lvl="3" fontAlgn="auto"/>
            <a:r>
              <a:rPr lang="zh-CN" altLang="en-US" strike="noStrike" noProof="1" dirty="0"/>
              <a:t>第四级</a:t>
            </a:r>
            <a:endParaRPr lang="zh-CN" altLang="en-US" strike="noStrike" noProof="1" dirty="0"/>
          </a:p>
          <a:p>
            <a:pPr lvl="4" fontAlgn="auto"/>
            <a:r>
              <a:rPr lang="zh-CN" altLang="en-US" strike="noStrike" noProof="1" dirty="0"/>
              <a:t>第五级</a:t>
            </a:r>
            <a:endParaRPr lang="zh-CN" altLang="en-US" strike="noStrike" noProof="1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744961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 fontAlgn="auto"/>
            <a:r>
              <a:rPr lang="zh-CN" altLang="en-US" strike="noStrike" noProof="1" dirty="0"/>
              <a:t>单击此处编辑母版文本样式</a:t>
            </a:r>
            <a:endParaRPr lang="zh-CN" altLang="en-US" strike="noStrike" noProof="1" dirty="0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615609"/>
            <a:ext cx="5183188" cy="3574054"/>
          </a:xfrm>
        </p:spPr>
        <p:txBody>
          <a:bodyPr/>
          <a:lstStyle/>
          <a:p>
            <a:pPr lvl="0" fontAlgn="auto"/>
            <a:r>
              <a:rPr lang="zh-CN" altLang="en-US" strike="noStrike" noProof="1" dirty="0"/>
              <a:t>单击此处编辑母版文本样式</a:t>
            </a:r>
            <a:endParaRPr lang="zh-CN" altLang="en-US" strike="noStrike" noProof="1" dirty="0"/>
          </a:p>
          <a:p>
            <a:pPr lvl="1" fontAlgn="auto"/>
            <a:r>
              <a:rPr lang="zh-CN" altLang="en-US" strike="noStrike" noProof="1" dirty="0"/>
              <a:t>第二级</a:t>
            </a:r>
            <a:endParaRPr lang="zh-CN" altLang="en-US" strike="noStrike" noProof="1" dirty="0"/>
          </a:p>
          <a:p>
            <a:pPr lvl="2" fontAlgn="auto"/>
            <a:r>
              <a:rPr lang="zh-CN" altLang="en-US" strike="noStrike" noProof="1" dirty="0"/>
              <a:t>第三级</a:t>
            </a:r>
            <a:endParaRPr lang="zh-CN" altLang="en-US" strike="noStrike" noProof="1" dirty="0"/>
          </a:p>
          <a:p>
            <a:pPr lvl="3" fontAlgn="auto"/>
            <a:r>
              <a:rPr lang="zh-CN" altLang="en-US" strike="noStrike" noProof="1" dirty="0"/>
              <a:t>第四级</a:t>
            </a:r>
            <a:endParaRPr lang="zh-CN" altLang="en-US" strike="noStrike" noProof="1" dirty="0"/>
          </a:p>
          <a:p>
            <a:pPr lvl="4" fontAlgn="auto"/>
            <a:r>
              <a:rPr lang="zh-CN" altLang="en-US" strike="noStrike" noProof="1" dirty="0"/>
              <a:t>第五级</a:t>
            </a:r>
            <a:endParaRPr lang="zh-CN" altLang="en-US" strike="noStrike" noProof="1" dirty="0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p>
            <a:pPr fontAlgn="auto"/>
            <a:fld id="{760FBDFE-C587-4B4C-A407-44438C67B59E}" type="datetimeFigureOut">
              <a:rPr lang="zh-CN" altLang="en-US" strike="noStrike" noProof="1" smtClean="0">
                <a:latin typeface="+mn-lt"/>
                <a:ea typeface="+mn-ea"/>
                <a:cs typeface="+mn-cs"/>
              </a:rPr>
            </a:fld>
            <a:endParaRPr lang="zh-CN" altLang="en-US" strike="noStrike" noProof="1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p>
            <a:pPr fontAlgn="auto"/>
            <a:endParaRPr lang="zh-CN" altLang="en-US" strike="noStrike" noProof="1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pPr fontAlgn="auto"/>
            <a:fld id="{49AE70B2-8BF9-45C0-BB95-33D1B9D3A854}" type="slidenum">
              <a:rPr lang="zh-CN" altLang="en-US" strike="noStrike" noProof="1" smtClean="0">
                <a:latin typeface="+mn-lt"/>
                <a:ea typeface="+mn-ea"/>
                <a:cs typeface="+mn-cs"/>
              </a:rPr>
            </a:fld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2766219"/>
            <a:ext cx="10515600" cy="1325563"/>
          </a:xfrm>
        </p:spPr>
        <p:txBody>
          <a:bodyPr>
            <a:normAutofit/>
          </a:bodyPr>
          <a:lstStyle>
            <a:lvl1pPr algn="ctr">
              <a:defRPr sz="4800" b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fontAlgn="auto"/>
            <a:r>
              <a:rPr lang="zh-CN" altLang="en-US" strike="noStrike" noProof="1" dirty="0"/>
              <a:t>单击此处编辑母版标题样式</a:t>
            </a:r>
            <a:endParaRPr lang="zh-CN" altLang="en-US" strike="noStrike" noProof="1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p>
            <a:pPr fontAlgn="auto"/>
            <a:fld id="{760FBDFE-C587-4B4C-A407-44438C67B59E}" type="datetimeFigureOut">
              <a:rPr lang="zh-CN" altLang="en-US" strike="noStrike" noProof="1" smtClean="0">
                <a:latin typeface="+mn-lt"/>
                <a:ea typeface="+mn-ea"/>
                <a:cs typeface="+mn-cs"/>
              </a:rPr>
            </a:fld>
            <a:endParaRPr lang="zh-CN" altLang="en-US" strike="noStrike" noProof="1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p>
            <a:pPr fontAlgn="auto"/>
            <a:endParaRPr lang="zh-CN" altLang="en-US" strike="noStrike" noProof="1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pPr fontAlgn="auto"/>
            <a:fld id="{49AE70B2-8BF9-45C0-BB95-33D1B9D3A854}" type="slidenum">
              <a:rPr lang="zh-CN" altLang="en-US" strike="noStrike" noProof="1" smtClean="0">
                <a:latin typeface="+mn-lt"/>
                <a:ea typeface="+mn-ea"/>
                <a:cs typeface="+mn-cs"/>
              </a:rPr>
            </a:fld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p>
            <a:pPr fontAlgn="auto"/>
            <a:fld id="{760FBDFE-C587-4B4C-A407-44438C67B59E}" type="datetimeFigureOut">
              <a:rPr lang="zh-CN" altLang="en-US" strike="noStrike" noProof="1" smtClean="0">
                <a:latin typeface="+mn-lt"/>
                <a:ea typeface="+mn-ea"/>
                <a:cs typeface="+mn-cs"/>
              </a:rPr>
            </a:fld>
            <a:endParaRPr lang="zh-CN" altLang="en-US" strike="noStrike" noProof="1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p>
            <a:pPr fontAlgn="auto"/>
            <a:endParaRPr lang="zh-CN" altLang="en-US" strike="noStrike" noProof="1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pPr fontAlgn="auto"/>
            <a:fld id="{49AE70B2-8BF9-45C0-BB95-33D1B9D3A854}" type="slidenum">
              <a:rPr lang="zh-CN" altLang="en-US" strike="noStrike" noProof="1" smtClean="0">
                <a:latin typeface="+mn-lt"/>
                <a:ea typeface="+mn-ea"/>
                <a:cs typeface="+mn-cs"/>
              </a:rPr>
            </a:fld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646747" y="127000"/>
            <a:ext cx="4165200" cy="1600200"/>
          </a:xfrm>
        </p:spPr>
        <p:txBody>
          <a:bodyPr anchor="ctr" anchorCtr="0">
            <a:normAutofit/>
          </a:bodyPr>
          <a:lstStyle>
            <a:lvl1pPr>
              <a:defRPr sz="24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fontAlgn="auto"/>
            <a:r>
              <a:rPr lang="zh-CN" altLang="en-US" strike="noStrike" noProof="1" dirty="0"/>
              <a:t>单击此处编辑标题</a:t>
            </a:r>
            <a:endParaRPr lang="zh-CN" altLang="en-US" strike="noStrike" noProof="1" dirty="0"/>
          </a:p>
        </p:txBody>
      </p:sp>
      <p:sp>
        <p:nvSpPr>
          <p:cNvPr id="3" name="图片占位符 2"/>
          <p:cNvSpPr>
            <a:spLocks noGrp="1" noChangeAspect="1"/>
          </p:cNvSpPr>
          <p:nvPr>
            <p:ph type="pic" idx="1"/>
          </p:nvPr>
        </p:nvSpPr>
        <p:spPr>
          <a:xfrm>
            <a:off x="5184000" y="766354"/>
            <a:ext cx="5817375" cy="50944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fontAlgn="auto"/>
            <a:endParaRPr lang="zh-CN" altLang="en-US" strike="noStrike" noProof="1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51827" y="2057400"/>
            <a:ext cx="4165200" cy="3811588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 fontAlgn="auto"/>
            <a:r>
              <a:rPr lang="zh-CN" altLang="en-US" strike="noStrike" noProof="1" dirty="0"/>
              <a:t>单击此处编辑母版文本样式</a:t>
            </a:r>
            <a:endParaRPr lang="zh-CN" altLang="en-US" strike="noStrike" noProof="1" dirty="0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p>
            <a:pPr fontAlgn="auto"/>
            <a:fld id="{760FBDFE-C587-4B4C-A407-44438C67B59E}" type="datetimeFigureOut">
              <a:rPr lang="zh-CN" altLang="en-US" strike="noStrike" noProof="1" smtClean="0">
                <a:latin typeface="+mn-lt"/>
                <a:ea typeface="+mn-ea"/>
                <a:cs typeface="+mn-cs"/>
              </a:rPr>
            </a:fld>
            <a:endParaRPr lang="zh-CN" altLang="en-US" strike="noStrike" noProof="1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p>
            <a:pPr fontAlgn="auto"/>
            <a:endParaRPr lang="zh-CN" altLang="en-US" strike="noStrike" noProof="1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pPr fontAlgn="auto"/>
            <a:fld id="{49AE70B2-8BF9-45C0-BB95-33D1B9D3A854}" type="slidenum">
              <a:rPr lang="zh-CN" altLang="en-US" strike="noStrike" noProof="1" smtClean="0">
                <a:latin typeface="+mn-lt"/>
                <a:ea typeface="+mn-ea"/>
                <a:cs typeface="+mn-cs"/>
              </a:rPr>
            </a:fld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9824484" y="365125"/>
            <a:ext cx="1529316" cy="5811838"/>
          </a:xfrm>
        </p:spPr>
        <p:txBody>
          <a:bodyPr vert="eaVert">
            <a:normAutofit/>
          </a:bodyPr>
          <a:lstStyle>
            <a:lvl1pPr>
              <a:defRPr sz="3600"/>
            </a:lvl1pPr>
          </a:lstStyle>
          <a:p>
            <a:pPr fontAlgn="auto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8879958" cy="5811838"/>
          </a:xfrm>
        </p:spPr>
        <p:txBody>
          <a:bodyPr vert="eaVert"/>
          <a:lstStyle/>
          <a:p>
            <a:pPr lvl="0" fontAlgn="auto"/>
            <a:r>
              <a:rPr lang="zh-CN" altLang="en-US" strike="noStrike" noProof="1" dirty="0"/>
              <a:t>单击此处编辑母版文本样式</a:t>
            </a:r>
            <a:endParaRPr lang="zh-CN" altLang="en-US" strike="noStrike" noProof="1" dirty="0"/>
          </a:p>
          <a:p>
            <a:pPr lvl="1" fontAlgn="auto"/>
            <a:r>
              <a:rPr lang="zh-CN" altLang="en-US" strike="noStrike" noProof="1" dirty="0"/>
              <a:t>第二级</a:t>
            </a:r>
            <a:endParaRPr lang="zh-CN" altLang="en-US" strike="noStrike" noProof="1" dirty="0"/>
          </a:p>
          <a:p>
            <a:pPr lvl="2" fontAlgn="auto"/>
            <a:r>
              <a:rPr lang="zh-CN" altLang="en-US" strike="noStrike" noProof="1" dirty="0"/>
              <a:t>第三级</a:t>
            </a:r>
            <a:endParaRPr lang="zh-CN" altLang="en-US" strike="noStrike" noProof="1" dirty="0"/>
          </a:p>
          <a:p>
            <a:pPr lvl="3" fontAlgn="auto"/>
            <a:r>
              <a:rPr lang="zh-CN" altLang="en-US" strike="noStrike" noProof="1" dirty="0"/>
              <a:t>第四级</a:t>
            </a:r>
            <a:endParaRPr lang="zh-CN" altLang="en-US" strike="noStrike" noProof="1" dirty="0"/>
          </a:p>
          <a:p>
            <a:pPr lvl="4" fontAlgn="auto"/>
            <a:r>
              <a:rPr lang="zh-CN" altLang="en-US" strike="noStrike" noProof="1" dirty="0"/>
              <a:t>第五级</a:t>
            </a:r>
            <a:endParaRPr lang="zh-CN" altLang="en-US" strike="noStrike" noProof="1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p>
            <a:pPr fontAlgn="auto"/>
            <a:fld id="{760FBDFE-C587-4B4C-A407-44438C67B59E}" type="datetimeFigureOut">
              <a:rPr lang="zh-CN" altLang="en-US" strike="noStrike" noProof="1" smtClean="0">
                <a:latin typeface="+mn-lt"/>
                <a:ea typeface="+mn-ea"/>
                <a:cs typeface="+mn-cs"/>
              </a:rPr>
            </a:fld>
            <a:endParaRPr lang="zh-CN" altLang="en-US" strike="noStrike" noProof="1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p>
            <a:pPr fontAlgn="auto"/>
            <a:endParaRPr lang="zh-CN" altLang="en-US" strike="noStrike" noProof="1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pPr fontAlgn="auto"/>
            <a:fld id="{49AE70B2-8BF9-45C0-BB95-33D1B9D3A854}" type="slidenum">
              <a:rPr lang="zh-CN" altLang="en-US" strike="noStrike" noProof="1" smtClean="0">
                <a:latin typeface="+mn-lt"/>
                <a:ea typeface="+mn-ea"/>
                <a:cs typeface="+mn-cs"/>
              </a:rPr>
            </a:fld>
            <a:endParaRPr lang="zh-CN" altLang="en-US" strike="noStrike" noProof="1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5" Type="http://schemas.openxmlformats.org/officeDocument/2006/relationships/theme" Target="../theme/theme1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/>
      <p:sp>
        <p:nvSpPr>
          <p:cNvPr id="1026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 w="9525">
            <a:noFill/>
          </a:ln>
        </p:spPr>
        <p:txBody>
          <a:bodyPr vert="horz" lIns="91440" tIns="45720" rIns="91440" bIns="45720" anchor="ctr" anchorCtr="0"/>
          <a:p>
            <a:pPr lvl="0"/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1027" name="文本占位符 2"/>
          <p:cNvSpPr>
            <a:spLocks noGrp="1"/>
          </p:cNvSpPr>
          <p:nvPr>
            <p:ph type="body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 w="9525">
            <a:noFill/>
          </a:ln>
        </p:spPr>
        <p:txBody>
          <a:bodyPr vert="horz" lIns="91440" tIns="45720" rIns="91440" bIns="45720" anchor="t" anchorCtr="0"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/>
            <a:fld id="{760FBDFE-C587-4B4C-A407-44438C67B59E}" type="datetimeFigureOut">
              <a:rPr lang="zh-CN" altLang="en-US" strike="noStrike" noProof="1" smtClean="0">
                <a:latin typeface="+mn-lt"/>
                <a:ea typeface="+mn-ea"/>
                <a:cs typeface="+mn-cs"/>
              </a:rPr>
            </a:fld>
            <a:endParaRPr lang="zh-CN" altLang="en-US" strike="noStrike" noProof="1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/>
            <a:endParaRPr lang="zh-CN" altLang="en-US" strike="noStrike" noProof="1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/>
            <a:fld id="{49AE70B2-8BF9-45C0-BB95-33D1B9D3A854}" type="slidenum">
              <a:rPr lang="zh-CN" altLang="en-US" strike="noStrike" noProof="1" smtClean="0">
                <a:latin typeface="+mn-lt"/>
                <a:ea typeface="+mn-ea"/>
                <a:cs typeface="+mn-cs"/>
              </a:rPr>
            </a:fld>
            <a:endParaRPr lang="zh-CN" altLang="en-US" strike="noStrike" noProof="1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8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28.png"/><Relationship Id="rId2" Type="http://schemas.openxmlformats.org/officeDocument/2006/relationships/image" Target="../media/image25.png"/><Relationship Id="rId1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47700" y="1039495"/>
            <a:ext cx="10515600" cy="1325563"/>
          </a:xfrm>
        </p:spPr>
        <p:txBody>
          <a:bodyPr>
            <a:noAutofit/>
          </a:bodyPr>
          <a:p>
            <a:pPr algn="ctr"/>
            <a:br>
              <a:rPr lang="zh-CN" altLang="en-US" sz="3200"/>
            </a:br>
            <a:r>
              <a:rPr lang="zh-CN" altLang="en-US" sz="3200">
                <a:solidFill>
                  <a:srgbClr val="00B0F0"/>
                </a:solidFill>
                <a:latin typeface="+mn-ea"/>
                <a:ea typeface="+mn-ea"/>
                <a:cs typeface="+mn-ea"/>
              </a:rPr>
              <a:t>广西医科大学国际教育学院</a:t>
            </a:r>
            <a:br>
              <a:rPr lang="zh-CN" altLang="en-US" sz="3200">
                <a:solidFill>
                  <a:srgbClr val="00B0F0"/>
                </a:solidFill>
                <a:latin typeface="+mn-ea"/>
                <a:ea typeface="+mn-ea"/>
                <a:cs typeface="+mn-ea"/>
              </a:rPr>
            </a:br>
            <a:r>
              <a:rPr lang="zh-CN" altLang="en-US" sz="3200">
                <a:solidFill>
                  <a:srgbClr val="00B0F0"/>
                </a:solidFill>
                <a:latin typeface="+mn-ea"/>
                <a:ea typeface="+mn-ea"/>
                <a:cs typeface="+mn-ea"/>
              </a:rPr>
              <a:t>来华留学生保险投保流程</a:t>
            </a:r>
            <a:endParaRPr lang="zh-CN" altLang="en-US" sz="3200">
              <a:solidFill>
                <a:srgbClr val="00B0F0"/>
              </a:solidFill>
              <a:latin typeface="+mn-ea"/>
              <a:ea typeface="+mn-ea"/>
              <a:cs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952500" y="1962150"/>
            <a:ext cx="10515600" cy="3424555"/>
          </a:xfrm>
        </p:spPr>
        <p:txBody>
          <a:bodyPr/>
          <a:p>
            <a:pPr marL="0" indent="0">
              <a:buNone/>
            </a:pPr>
            <a:endParaRPr lang="en-US" altLang="zh-CN" sz="3200"/>
          </a:p>
          <a:p>
            <a:pPr marL="0" indent="0">
              <a:buNone/>
            </a:pPr>
            <a:endParaRPr lang="en-US" altLang="zh-CN" sz="3200"/>
          </a:p>
          <a:p>
            <a:pPr marL="0" indent="0" algn="ctr">
              <a:buNone/>
            </a:pPr>
            <a:r>
              <a:rPr lang="en-US" altLang="zh-CN" sz="3200">
                <a:solidFill>
                  <a:srgbClr val="00B0F0"/>
                </a:solidFill>
              </a:rPr>
              <a:t>Insurance Application Process for International Students at Guangxi Medical University International Education College</a:t>
            </a:r>
            <a:endParaRPr lang="en-US" altLang="zh-CN" sz="3200">
              <a:solidFill>
                <a:srgbClr val="00B0F0"/>
              </a:solidFill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5" name="图片 4"/>
          <p:cNvPicPr/>
          <p:nvPr/>
        </p:nvPicPr>
        <p:blipFill>
          <a:blip r:embed="rId1"/>
          <a:srcRect/>
          <a:stretch>
            <a:fillRect/>
          </a:stretch>
        </p:blipFill>
        <p:spPr>
          <a:xfrm>
            <a:off x="4316095" y="92075"/>
            <a:ext cx="3876040" cy="652526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15325" y="83820"/>
            <a:ext cx="3697605" cy="653351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4770"/>
            <a:ext cx="4192905" cy="6551930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5560" y="77470"/>
            <a:ext cx="3739515" cy="6703695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76675" y="77470"/>
            <a:ext cx="4009390" cy="670306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87665" y="77470"/>
            <a:ext cx="3995420" cy="6703695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8575" y="47625"/>
            <a:ext cx="3797300" cy="6735445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9400" y="39370"/>
            <a:ext cx="3900805" cy="675386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77530" y="47625"/>
            <a:ext cx="3907790" cy="6734810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8100" y="44450"/>
            <a:ext cx="3823335" cy="676910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4145" y="48895"/>
            <a:ext cx="3971925" cy="676910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18780" y="48895"/>
            <a:ext cx="4079240" cy="6764655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1115" y="38100"/>
            <a:ext cx="3824605" cy="6760845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73500" y="38100"/>
            <a:ext cx="4097655" cy="676211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88935" y="38100"/>
            <a:ext cx="4203065" cy="6761480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9525" y="28575"/>
            <a:ext cx="3735070" cy="6776720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54120" y="43180"/>
            <a:ext cx="3841115" cy="6762115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53655" y="43180"/>
            <a:ext cx="4471670" cy="6761480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9050" y="47625"/>
            <a:ext cx="3811270" cy="674624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44485" y="47625"/>
            <a:ext cx="4186555" cy="681037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rcRect t="5094"/>
          <a:stretch>
            <a:fillRect/>
          </a:stretch>
        </p:blipFill>
        <p:spPr>
          <a:xfrm>
            <a:off x="3878580" y="47625"/>
            <a:ext cx="4028440" cy="6746240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rcRect t="5094"/>
          <a:stretch>
            <a:fillRect/>
          </a:stretch>
        </p:blipFill>
        <p:spPr>
          <a:xfrm>
            <a:off x="28575" y="38100"/>
            <a:ext cx="3807460" cy="6750685"/>
          </a:xfrm>
          <a:prstGeom prst="rect">
            <a:avLst/>
          </a:prstGeom>
        </p:spPr>
      </p:pic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77310" y="50800"/>
            <a:ext cx="3776980" cy="680720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95565" y="50800"/>
            <a:ext cx="4523105" cy="6737350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Office 主题​​">
  <a:themeElements>
    <a:clrScheme name="PA">
      <a:dk1>
        <a:srgbClr val="000000"/>
      </a:dk1>
      <a:lt1>
        <a:srgbClr val="FFFFFF"/>
      </a:lt1>
      <a:dk2>
        <a:srgbClr val="323232"/>
      </a:dk2>
      <a:lt2>
        <a:srgbClr val="E5DCD8"/>
      </a:lt2>
      <a:accent1>
        <a:srgbClr val="F25822"/>
      </a:accent1>
      <a:accent2>
        <a:srgbClr val="B19C7D"/>
      </a:accent2>
      <a:accent3>
        <a:srgbClr val="C02C04"/>
      </a:accent3>
      <a:accent4>
        <a:srgbClr val="7D5D50"/>
      </a:accent4>
      <a:accent5>
        <a:srgbClr val="B27D49"/>
      </a:accent5>
      <a:accent6>
        <a:srgbClr val="00713D"/>
      </a:accent6>
      <a:hlink>
        <a:srgbClr val="D35615"/>
      </a:hlink>
      <a:folHlink>
        <a:srgbClr val="B06A01"/>
      </a:folHlink>
    </a:clrScheme>
    <a:fontScheme name="Arial Black-Arial">
      <a:majorFont>
        <a:latin typeface="Arial Black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微软雅黑"/>
        <a:ea typeface=""/>
        <a:cs typeface=""/>
        <a:font script="Jpan" typeface="游ゴシック Light"/>
        <a:font script="Hang" typeface="맑은 고딕"/>
        <a:font script="Hans" typeface="微软雅黑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微软雅黑"/>
        <a:ea typeface=""/>
        <a:cs typeface=""/>
        <a:font script="Jpan" typeface="游ゴシック"/>
        <a:font script="Hang" typeface="맑은 고딕"/>
        <a:font script="Hans" typeface="微软雅黑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44</Words>
  <Application>WPS 演示</Application>
  <PresentationFormat>宽屏</PresentationFormat>
  <Paragraphs>5</Paragraphs>
  <Slides>9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9</vt:i4>
      </vt:variant>
    </vt:vector>
  </HeadingPairs>
  <TitlesOfParts>
    <vt:vector size="23" baseType="lpstr">
      <vt:lpstr>Arial</vt:lpstr>
      <vt:lpstr>宋体</vt:lpstr>
      <vt:lpstr>Wingdings</vt:lpstr>
      <vt:lpstr>Times New Roman</vt:lpstr>
      <vt:lpstr>黑体</vt:lpstr>
      <vt:lpstr>华文楷体</vt:lpstr>
      <vt:lpstr>Trebuchet MS</vt:lpstr>
      <vt:lpstr>Arial</vt:lpstr>
      <vt:lpstr>微软雅黑</vt:lpstr>
      <vt:lpstr>Arial Black</vt:lpstr>
      <vt:lpstr>Arial Unicode MS</vt:lpstr>
      <vt:lpstr>Office 主题​​</vt:lpstr>
      <vt:lpstr>TCLayout.ActiveDocument.1</vt:lpstr>
      <vt:lpstr>TCLayout.ActiveDocument.1</vt:lpstr>
      <vt:lpstr> 广西医科大学国际教育学院 来华留学生保险投保流程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EX-XIANGYUNKUN002</dc:creator>
  <cp:lastModifiedBy>liangheyuan283</cp:lastModifiedBy>
  <cp:revision>276</cp:revision>
  <dcterms:created xsi:type="dcterms:W3CDTF">2025-09-09T04:24:34Z</dcterms:created>
  <dcterms:modified xsi:type="dcterms:W3CDTF">2025-09-09T04:24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8.2.12313</vt:lpwstr>
  </property>
  <property fmtid="{D5CDD505-2E9C-101B-9397-08002B2CF9AE}" pid="3" name="ICV">
    <vt:lpwstr>0FDBD68E97BB6A3F02ACBF6815A6C6E0</vt:lpwstr>
  </property>
</Properties>
</file>